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344" r:id="rId5"/>
    <p:sldId id="512" r:id="rId6"/>
    <p:sldId id="532" r:id="rId7"/>
    <p:sldId id="535" r:id="rId8"/>
    <p:sldId id="554" r:id="rId9"/>
    <p:sldId id="7265" r:id="rId10"/>
    <p:sldId id="555" r:id="rId11"/>
    <p:sldId id="556" r:id="rId12"/>
    <p:sldId id="552" r:id="rId13"/>
    <p:sldId id="1448942822" r:id="rId14"/>
    <p:sldId id="340" r:id="rId15"/>
    <p:sldId id="553" r:id="rId16"/>
  </p:sldIdLst>
  <p:sldSz cx="12192000" cy="6858000"/>
  <p:notesSz cx="6858000" cy="9144000"/>
  <p:embeddedFontLst>
    <p:embeddedFont>
      <p:font typeface="DIN Next LT Pro Condensed" panose="020B0806020203050203" pitchFamily="34" charset="0"/>
      <p:bold r:id="rId19"/>
    </p:embeddedFont>
    <p:embeddedFont>
      <p:font typeface="Open Sans" panose="020B0606030504020204" pitchFamily="34" charset="0"/>
      <p:regular r:id="rId20"/>
      <p:bold r:id="rId21"/>
      <p:italic r:id="rId22"/>
      <p:boldItalic r:id="rId23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and Opening Slides" id="{0765C6E0-7EC7-473E-A0C1-CF99A2C37215}">
          <p14:sldIdLst>
            <p14:sldId id="344"/>
            <p14:sldId id="512"/>
            <p14:sldId id="532"/>
            <p14:sldId id="535"/>
            <p14:sldId id="554"/>
            <p14:sldId id="7265"/>
            <p14:sldId id="555"/>
            <p14:sldId id="556"/>
            <p14:sldId id="552"/>
            <p14:sldId id="1448942822"/>
            <p14:sldId id="340"/>
            <p14:sldId id="553"/>
          </p14:sldIdLst>
        </p14:section>
        <p14:section name="Special Content Slides" id="{A9FFAC82-8366-4E01-A886-42EEDB23B95E}">
          <p14:sldIdLst/>
        </p14:section>
        <p14:section name="Closing slides" id="{830C5FE6-1269-4C95-A895-D91925CC8E5B}">
          <p14:sldIdLst/>
        </p14:section>
      </p14:sectionLst>
    </p:ext>
    <p:ext uri="{EFAFB233-063F-42B5-8137-9DF3F51BA10A}">
      <p15:sldGuideLst xmlns:p15="http://schemas.microsoft.com/office/powerpoint/2012/main">
        <p15:guide id="1" pos="438" userDrawn="1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8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D9B201-C064-4DA0-B183-441F393C725F}" v="2" dt="2025-12-17T13:53:02.5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howGuides="1">
      <p:cViewPr varScale="1">
        <p:scale>
          <a:sx n="78" d="100"/>
          <a:sy n="78" d="100"/>
        </p:scale>
        <p:origin x="114" y="270"/>
      </p:cViewPr>
      <p:guideLst>
        <p:guide pos="438"/>
        <p:guide orient="horz" pos="2160"/>
        <p:guide orient="horz" pos="89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78" d="100"/>
          <a:sy n="78" d="100"/>
        </p:scale>
        <p:origin x="309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2.fntdata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5.fntdata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font" Target="fonts/font1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4.fntdata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iane Vogelpohl" userId="b9c29d33-6e06-4640-ad35-8499308e39ed" providerId="ADAL" clId="{16FFD4CD-48B9-4B64-8F95-6EBA12B4C3D6}"/>
    <pc:docChg chg="undo custSel addSld delSld modSld sldOrd delSection modSection">
      <pc:chgData name="Diane Vogelpohl" userId="b9c29d33-6e06-4640-ad35-8499308e39ed" providerId="ADAL" clId="{16FFD4CD-48B9-4B64-8F95-6EBA12B4C3D6}" dt="2025-12-15T09:46:32.857" v="377"/>
      <pc:docMkLst>
        <pc:docMk/>
      </pc:docMkLst>
      <pc:sldChg chg="addSp delSp modSp add mod ord chgLayout">
        <pc:chgData name="Diane Vogelpohl" userId="b9c29d33-6e06-4640-ad35-8499308e39ed" providerId="ADAL" clId="{16FFD4CD-48B9-4B64-8F95-6EBA12B4C3D6}" dt="2025-12-15T09:42:13.694" v="356" actId="478"/>
        <pc:sldMkLst>
          <pc:docMk/>
          <pc:sldMk cId="1733770088" sldId="340"/>
        </pc:sldMkLst>
        <pc:spChg chg="mod ord">
          <ac:chgData name="Diane Vogelpohl" userId="b9c29d33-6e06-4640-ad35-8499308e39ed" providerId="ADAL" clId="{16FFD4CD-48B9-4B64-8F95-6EBA12B4C3D6}" dt="2025-12-15T09:41:17.745" v="351" actId="6264"/>
          <ac:spMkLst>
            <pc:docMk/>
            <pc:sldMk cId="1733770088" sldId="340"/>
            <ac:spMk id="36" creationId="{4CE1BC86-31AA-D731-FE15-326E5C8987EC}"/>
          </ac:spMkLst>
        </pc:spChg>
        <pc:spChg chg="mod ord">
          <ac:chgData name="Diane Vogelpohl" userId="b9c29d33-6e06-4640-ad35-8499308e39ed" providerId="ADAL" clId="{16FFD4CD-48B9-4B64-8F95-6EBA12B4C3D6}" dt="2025-12-15T09:41:17.745" v="351" actId="6264"/>
          <ac:spMkLst>
            <pc:docMk/>
            <pc:sldMk cId="1733770088" sldId="340"/>
            <ac:spMk id="37" creationId="{D033003C-A166-4D30-9F77-30725EBB3860}"/>
          </ac:spMkLst>
        </pc:spChg>
        <pc:picChg chg="add del mod">
          <ac:chgData name="Diane Vogelpohl" userId="b9c29d33-6e06-4640-ad35-8499308e39ed" providerId="ADAL" clId="{16FFD4CD-48B9-4B64-8F95-6EBA12B4C3D6}" dt="2025-12-15T09:42:13.694" v="356" actId="478"/>
          <ac:picMkLst>
            <pc:docMk/>
            <pc:sldMk cId="1733770088" sldId="340"/>
            <ac:picMk id="54" creationId="{3206E9AD-5A73-C5FC-2010-798551B75231}"/>
          </ac:picMkLst>
        </pc:picChg>
      </pc:sldChg>
      <pc:sldChg chg="add">
        <pc:chgData name="Diane Vogelpohl" userId="b9c29d33-6e06-4640-ad35-8499308e39ed" providerId="ADAL" clId="{16FFD4CD-48B9-4B64-8F95-6EBA12B4C3D6}" dt="2025-12-15T09:28:31.163" v="201"/>
        <pc:sldMkLst>
          <pc:docMk/>
          <pc:sldMk cId="995530787" sldId="344"/>
        </pc:sldMkLst>
      </pc:sldChg>
      <pc:sldChg chg="modSp mod">
        <pc:chgData name="Diane Vogelpohl" userId="b9c29d33-6e06-4640-ad35-8499308e39ed" providerId="ADAL" clId="{16FFD4CD-48B9-4B64-8F95-6EBA12B4C3D6}" dt="2025-12-15T09:25:43.019" v="26" actId="20577"/>
        <pc:sldMkLst>
          <pc:docMk/>
          <pc:sldMk cId="3623021799" sldId="512"/>
        </pc:sldMkLst>
        <pc:spChg chg="mod">
          <ac:chgData name="Diane Vogelpohl" userId="b9c29d33-6e06-4640-ad35-8499308e39ed" providerId="ADAL" clId="{16FFD4CD-48B9-4B64-8F95-6EBA12B4C3D6}" dt="2025-12-15T09:25:36.786" v="10"/>
          <ac:spMkLst>
            <pc:docMk/>
            <pc:sldMk cId="3623021799" sldId="512"/>
            <ac:spMk id="6" creationId="{3B973205-BA50-7C7B-E069-D625F3A6B638}"/>
          </ac:spMkLst>
        </pc:spChg>
        <pc:spChg chg="mod">
          <ac:chgData name="Diane Vogelpohl" userId="b9c29d33-6e06-4640-ad35-8499308e39ed" providerId="ADAL" clId="{16FFD4CD-48B9-4B64-8F95-6EBA12B4C3D6}" dt="2025-12-15T09:25:43.019" v="26" actId="20577"/>
          <ac:spMkLst>
            <pc:docMk/>
            <pc:sldMk cId="3623021799" sldId="512"/>
            <ac:spMk id="7" creationId="{5FADFDE6-4F36-E20F-B90E-8CBD930F3F27}"/>
          </ac:spMkLst>
        </pc:spChg>
      </pc:sldChg>
      <pc:sldChg chg="modSp mod">
        <pc:chgData name="Diane Vogelpohl" userId="b9c29d33-6e06-4640-ad35-8499308e39ed" providerId="ADAL" clId="{16FFD4CD-48B9-4B64-8F95-6EBA12B4C3D6}" dt="2025-12-15T09:27:30.234" v="122" actId="20577"/>
        <pc:sldMkLst>
          <pc:docMk/>
          <pc:sldMk cId="842240402" sldId="532"/>
        </pc:sldMkLst>
        <pc:graphicFrameChg chg="mod modGraphic">
          <ac:chgData name="Diane Vogelpohl" userId="b9c29d33-6e06-4640-ad35-8499308e39ed" providerId="ADAL" clId="{16FFD4CD-48B9-4B64-8F95-6EBA12B4C3D6}" dt="2025-12-15T09:27:30.234" v="122" actId="20577"/>
          <ac:graphicFrameMkLst>
            <pc:docMk/>
            <pc:sldMk cId="842240402" sldId="532"/>
            <ac:graphicFrameMk id="12" creationId="{26106859-D782-DD8A-9C73-38B2E460CE43}"/>
          </ac:graphicFrameMkLst>
        </pc:graphicFrameChg>
      </pc:sldChg>
      <pc:sldChg chg="addSp delSp modSp add del mod">
        <pc:chgData name="Diane Vogelpohl" userId="b9c29d33-6e06-4640-ad35-8499308e39ed" providerId="ADAL" clId="{16FFD4CD-48B9-4B64-8F95-6EBA12B4C3D6}" dt="2025-12-15T09:39:49.241" v="317" actId="14826"/>
        <pc:sldMkLst>
          <pc:docMk/>
          <pc:sldMk cId="2092797984" sldId="535"/>
        </pc:sldMkLst>
        <pc:spChg chg="add mod">
          <ac:chgData name="Diane Vogelpohl" userId="b9c29d33-6e06-4640-ad35-8499308e39ed" providerId="ADAL" clId="{16FFD4CD-48B9-4B64-8F95-6EBA12B4C3D6}" dt="2025-12-15T09:37:04.895" v="274" actId="21"/>
          <ac:spMkLst>
            <pc:docMk/>
            <pc:sldMk cId="2092797984" sldId="535"/>
            <ac:spMk id="5" creationId="{621D0A06-BAC9-2C6D-7FC5-A458C9B510B7}"/>
          </ac:spMkLst>
        </pc:spChg>
        <pc:spChg chg="add mod">
          <ac:chgData name="Diane Vogelpohl" userId="b9c29d33-6e06-4640-ad35-8499308e39ed" providerId="ADAL" clId="{16FFD4CD-48B9-4B64-8F95-6EBA12B4C3D6}" dt="2025-12-15T09:38:47.319" v="299" actId="1076"/>
          <ac:spMkLst>
            <pc:docMk/>
            <pc:sldMk cId="2092797984" sldId="535"/>
            <ac:spMk id="8" creationId="{90FCF740-49FF-742B-9B36-722D69E94B21}"/>
          </ac:spMkLst>
        </pc:spChg>
        <pc:spChg chg="add mod">
          <ac:chgData name="Diane Vogelpohl" userId="b9c29d33-6e06-4640-ad35-8499308e39ed" providerId="ADAL" clId="{16FFD4CD-48B9-4B64-8F95-6EBA12B4C3D6}" dt="2025-12-15T09:37:17.038" v="280" actId="21"/>
          <ac:spMkLst>
            <pc:docMk/>
            <pc:sldMk cId="2092797984" sldId="535"/>
            <ac:spMk id="11" creationId="{B9438C6E-DEEF-EA99-9DF6-9420A095ABB7}"/>
          </ac:spMkLst>
        </pc:spChg>
        <pc:spChg chg="add mod">
          <ac:chgData name="Diane Vogelpohl" userId="b9c29d33-6e06-4640-ad35-8499308e39ed" providerId="ADAL" clId="{16FFD4CD-48B9-4B64-8F95-6EBA12B4C3D6}" dt="2025-12-15T09:37:20.506" v="282" actId="21"/>
          <ac:spMkLst>
            <pc:docMk/>
            <pc:sldMk cId="2092797984" sldId="535"/>
            <ac:spMk id="12" creationId="{5BEC2472-7116-9640-8FE3-CBCBC7C21FE3}"/>
          </ac:spMkLst>
        </pc:spChg>
        <pc:spChg chg="add mod">
          <ac:chgData name="Diane Vogelpohl" userId="b9c29d33-6e06-4640-ad35-8499308e39ed" providerId="ADAL" clId="{16FFD4CD-48B9-4B64-8F95-6EBA12B4C3D6}" dt="2025-12-15T09:38:40.233" v="298"/>
          <ac:spMkLst>
            <pc:docMk/>
            <pc:sldMk cId="2092797984" sldId="535"/>
            <ac:spMk id="23" creationId="{837618CC-75B0-B978-47F0-54812D70EFF8}"/>
          </ac:spMkLst>
        </pc:spChg>
        <pc:spChg chg="add mod">
          <ac:chgData name="Diane Vogelpohl" userId="b9c29d33-6e06-4640-ad35-8499308e39ed" providerId="ADAL" clId="{16FFD4CD-48B9-4B64-8F95-6EBA12B4C3D6}" dt="2025-12-15T09:38:52.444" v="301"/>
          <ac:spMkLst>
            <pc:docMk/>
            <pc:sldMk cId="2092797984" sldId="535"/>
            <ac:spMk id="24" creationId="{E500A34A-7A28-8561-361C-6B95C63CF6E2}"/>
          </ac:spMkLst>
        </pc:spChg>
        <pc:spChg chg="add mod">
          <ac:chgData name="Diane Vogelpohl" userId="b9c29d33-6e06-4640-ad35-8499308e39ed" providerId="ADAL" clId="{16FFD4CD-48B9-4B64-8F95-6EBA12B4C3D6}" dt="2025-12-15T09:39:09.859" v="308"/>
          <ac:spMkLst>
            <pc:docMk/>
            <pc:sldMk cId="2092797984" sldId="535"/>
            <ac:spMk id="26" creationId="{93DFE5C4-EBB8-46B8-AD9A-E666F465B79C}"/>
          </ac:spMkLst>
        </pc:spChg>
        <pc:spChg chg="add mod">
          <ac:chgData name="Diane Vogelpohl" userId="b9c29d33-6e06-4640-ad35-8499308e39ed" providerId="ADAL" clId="{16FFD4CD-48B9-4B64-8F95-6EBA12B4C3D6}" dt="2025-12-15T09:39:15.937" v="310"/>
          <ac:spMkLst>
            <pc:docMk/>
            <pc:sldMk cId="2092797984" sldId="535"/>
            <ac:spMk id="27" creationId="{561D7811-D29D-6429-0C10-59E0ED12A4FA}"/>
          </ac:spMkLst>
        </pc:spChg>
        <pc:spChg chg="add mod">
          <ac:chgData name="Diane Vogelpohl" userId="b9c29d33-6e06-4640-ad35-8499308e39ed" providerId="ADAL" clId="{16FFD4CD-48B9-4B64-8F95-6EBA12B4C3D6}" dt="2025-12-15T09:39:20.871" v="312"/>
          <ac:spMkLst>
            <pc:docMk/>
            <pc:sldMk cId="2092797984" sldId="535"/>
            <ac:spMk id="28" creationId="{8B208F9A-7E85-E7FE-B4CD-4286C01637DF}"/>
          </ac:spMkLst>
        </pc:spChg>
        <pc:spChg chg="mod">
          <ac:chgData name="Diane Vogelpohl" userId="b9c29d33-6e06-4640-ad35-8499308e39ed" providerId="ADAL" clId="{16FFD4CD-48B9-4B64-8F95-6EBA12B4C3D6}" dt="2025-12-15T09:36:50.869" v="271"/>
          <ac:spMkLst>
            <pc:docMk/>
            <pc:sldMk cId="2092797984" sldId="535"/>
            <ac:spMk id="64" creationId="{6D46A899-5E11-B2C6-2463-F3E2AD52D0BC}"/>
          </ac:spMkLst>
        </pc:spChg>
        <pc:spChg chg="mod">
          <ac:chgData name="Diane Vogelpohl" userId="b9c29d33-6e06-4640-ad35-8499308e39ed" providerId="ADAL" clId="{16FFD4CD-48B9-4B64-8F95-6EBA12B4C3D6}" dt="2025-12-15T09:37:07.722" v="276" actId="20577"/>
          <ac:spMkLst>
            <pc:docMk/>
            <pc:sldMk cId="2092797984" sldId="535"/>
            <ac:spMk id="66" creationId="{EBDD8D06-CF2A-6DAC-02EB-D27446C6A42C}"/>
          </ac:spMkLst>
        </pc:spChg>
        <pc:spChg chg="mod">
          <ac:chgData name="Diane Vogelpohl" userId="b9c29d33-6e06-4640-ad35-8499308e39ed" providerId="ADAL" clId="{16FFD4CD-48B9-4B64-8F95-6EBA12B4C3D6}" dt="2025-12-15T09:37:18.349" v="281"/>
          <ac:spMkLst>
            <pc:docMk/>
            <pc:sldMk cId="2092797984" sldId="535"/>
            <ac:spMk id="76" creationId="{4F5BC03C-5CE1-7F8F-19D0-EB3A2A47F2F9}"/>
          </ac:spMkLst>
        </pc:spChg>
        <pc:spChg chg="mod">
          <ac:chgData name="Diane Vogelpohl" userId="b9c29d33-6e06-4640-ad35-8499308e39ed" providerId="ADAL" clId="{16FFD4CD-48B9-4B64-8F95-6EBA12B4C3D6}" dt="2025-12-15T09:37:21.764" v="283"/>
          <ac:spMkLst>
            <pc:docMk/>
            <pc:sldMk cId="2092797984" sldId="535"/>
            <ac:spMk id="77" creationId="{6094BF08-E69A-B358-AE02-82688FB094C3}"/>
          </ac:spMkLst>
        </pc:spChg>
        <pc:spChg chg="mod">
          <ac:chgData name="Diane Vogelpohl" userId="b9c29d33-6e06-4640-ad35-8499308e39ed" providerId="ADAL" clId="{16FFD4CD-48B9-4B64-8F95-6EBA12B4C3D6}" dt="2025-12-15T09:37:25.428" v="285"/>
          <ac:spMkLst>
            <pc:docMk/>
            <pc:sldMk cId="2092797984" sldId="535"/>
            <ac:spMk id="78" creationId="{5D8F6A5E-E9DA-ED1F-8A00-9AAA5F6C97CE}"/>
          </ac:spMkLst>
        </pc:spChg>
        <pc:picChg chg="add mod">
          <ac:chgData name="Diane Vogelpohl" userId="b9c29d33-6e06-4640-ad35-8499308e39ed" providerId="ADAL" clId="{16FFD4CD-48B9-4B64-8F95-6EBA12B4C3D6}" dt="2025-12-15T09:37:55.262" v="289" actId="27614"/>
          <ac:picMkLst>
            <pc:docMk/>
            <pc:sldMk cId="2092797984" sldId="535"/>
            <ac:picMk id="20" creationId="{B266FF25-318A-3E1E-2C2A-A8D2DC35C182}"/>
          </ac:picMkLst>
        </pc:picChg>
        <pc:picChg chg="add mod">
          <ac:chgData name="Diane Vogelpohl" userId="b9c29d33-6e06-4640-ad35-8499308e39ed" providerId="ADAL" clId="{16FFD4CD-48B9-4B64-8F95-6EBA12B4C3D6}" dt="2025-12-15T09:38:04.641" v="292" actId="27614"/>
          <ac:picMkLst>
            <pc:docMk/>
            <pc:sldMk cId="2092797984" sldId="535"/>
            <ac:picMk id="22" creationId="{C7B602FB-F2E2-1C4D-6611-8DC646E6599A}"/>
          </ac:picMkLst>
        </pc:picChg>
        <pc:picChg chg="add del mod">
          <ac:chgData name="Diane Vogelpohl" userId="b9c29d33-6e06-4640-ad35-8499308e39ed" providerId="ADAL" clId="{16FFD4CD-48B9-4B64-8F95-6EBA12B4C3D6}" dt="2025-12-15T09:38:31.090" v="297" actId="14826"/>
          <ac:picMkLst>
            <pc:docMk/>
            <pc:sldMk cId="2092797984" sldId="535"/>
            <ac:picMk id="25" creationId="{B6F64EB0-D75A-0F53-D9F6-F7296EF85758}"/>
          </ac:picMkLst>
        </pc:picChg>
        <pc:picChg chg="add mod">
          <ac:chgData name="Diane Vogelpohl" userId="b9c29d33-6e06-4640-ad35-8499308e39ed" providerId="ADAL" clId="{16FFD4CD-48B9-4B64-8F95-6EBA12B4C3D6}" dt="2025-12-15T09:39:49.241" v="317" actId="14826"/>
          <ac:picMkLst>
            <pc:docMk/>
            <pc:sldMk cId="2092797984" sldId="535"/>
            <ac:picMk id="29" creationId="{A8639AD9-6453-E5F5-CE44-5F0A87977705}"/>
          </ac:picMkLst>
        </pc:picChg>
      </pc:sldChg>
      <pc:sldChg chg="add ord">
        <pc:chgData name="Diane Vogelpohl" userId="b9c29d33-6e06-4640-ad35-8499308e39ed" providerId="ADAL" clId="{16FFD4CD-48B9-4B64-8F95-6EBA12B4C3D6}" dt="2025-12-15T09:40:46.089" v="323"/>
        <pc:sldMkLst>
          <pc:docMk/>
          <pc:sldMk cId="1954878611" sldId="552"/>
        </pc:sldMkLst>
      </pc:sldChg>
      <pc:sldChg chg="add ord">
        <pc:chgData name="Diane Vogelpohl" userId="b9c29d33-6e06-4640-ad35-8499308e39ed" providerId="ADAL" clId="{16FFD4CD-48B9-4B64-8F95-6EBA12B4C3D6}" dt="2025-12-15T09:40:48.811" v="327"/>
        <pc:sldMkLst>
          <pc:docMk/>
          <pc:sldMk cId="697666376" sldId="553"/>
        </pc:sldMkLst>
      </pc:sldChg>
      <pc:sldChg chg="modSp new mod">
        <pc:chgData name="Diane Vogelpohl" userId="b9c29d33-6e06-4640-ad35-8499308e39ed" providerId="ADAL" clId="{16FFD4CD-48B9-4B64-8F95-6EBA12B4C3D6}" dt="2025-12-15T09:45:41.789" v="365" actId="14100"/>
        <pc:sldMkLst>
          <pc:docMk/>
          <pc:sldMk cId="3720577523" sldId="554"/>
        </pc:sldMkLst>
        <pc:spChg chg="mod">
          <ac:chgData name="Diane Vogelpohl" userId="b9c29d33-6e06-4640-ad35-8499308e39ed" providerId="ADAL" clId="{16FFD4CD-48B9-4B64-8F95-6EBA12B4C3D6}" dt="2025-12-15T09:45:28.656" v="362" actId="20577"/>
          <ac:spMkLst>
            <pc:docMk/>
            <pc:sldMk cId="3720577523" sldId="554"/>
            <ac:spMk id="2" creationId="{F15AAE78-F676-5ED6-40C8-25897E3F13AF}"/>
          </ac:spMkLst>
        </pc:spChg>
        <pc:spChg chg="mod">
          <ac:chgData name="Diane Vogelpohl" userId="b9c29d33-6e06-4640-ad35-8499308e39ed" providerId="ADAL" clId="{16FFD4CD-48B9-4B64-8F95-6EBA12B4C3D6}" dt="2025-12-15T09:45:41.789" v="365" actId="14100"/>
          <ac:spMkLst>
            <pc:docMk/>
            <pc:sldMk cId="3720577523" sldId="554"/>
            <ac:spMk id="3" creationId="{B7988A78-FF58-6154-9C02-38C806061120}"/>
          </ac:spMkLst>
        </pc:spChg>
      </pc:sldChg>
      <pc:sldChg chg="modSp add mod">
        <pc:chgData name="Diane Vogelpohl" userId="b9c29d33-6e06-4640-ad35-8499308e39ed" providerId="ADAL" clId="{16FFD4CD-48B9-4B64-8F95-6EBA12B4C3D6}" dt="2025-12-15T09:46:10.044" v="372" actId="20577"/>
        <pc:sldMkLst>
          <pc:docMk/>
          <pc:sldMk cId="2205850523" sldId="555"/>
        </pc:sldMkLst>
        <pc:spChg chg="mod">
          <ac:chgData name="Diane Vogelpohl" userId="b9c29d33-6e06-4640-ad35-8499308e39ed" providerId="ADAL" clId="{16FFD4CD-48B9-4B64-8F95-6EBA12B4C3D6}" dt="2025-12-15T09:45:56.500" v="369"/>
          <ac:spMkLst>
            <pc:docMk/>
            <pc:sldMk cId="2205850523" sldId="555"/>
            <ac:spMk id="2" creationId="{660821CB-B8B5-DAB4-619E-CE97B6B8FD61}"/>
          </ac:spMkLst>
        </pc:spChg>
        <pc:spChg chg="mod">
          <ac:chgData name="Diane Vogelpohl" userId="b9c29d33-6e06-4640-ad35-8499308e39ed" providerId="ADAL" clId="{16FFD4CD-48B9-4B64-8F95-6EBA12B4C3D6}" dt="2025-12-15T09:46:10.044" v="372" actId="20577"/>
          <ac:spMkLst>
            <pc:docMk/>
            <pc:sldMk cId="2205850523" sldId="555"/>
            <ac:spMk id="3" creationId="{FE2723EA-06A3-1842-4884-86065223BBD7}"/>
          </ac:spMkLst>
        </pc:spChg>
      </pc:sldChg>
      <pc:sldChg chg="modSp add mod">
        <pc:chgData name="Diane Vogelpohl" userId="b9c29d33-6e06-4640-ad35-8499308e39ed" providerId="ADAL" clId="{16FFD4CD-48B9-4B64-8F95-6EBA12B4C3D6}" dt="2025-12-15T09:46:32.857" v="377"/>
        <pc:sldMkLst>
          <pc:docMk/>
          <pc:sldMk cId="1207728079" sldId="556"/>
        </pc:sldMkLst>
        <pc:spChg chg="mod">
          <ac:chgData name="Diane Vogelpohl" userId="b9c29d33-6e06-4640-ad35-8499308e39ed" providerId="ADAL" clId="{16FFD4CD-48B9-4B64-8F95-6EBA12B4C3D6}" dt="2025-12-15T09:46:23.057" v="375"/>
          <ac:spMkLst>
            <pc:docMk/>
            <pc:sldMk cId="1207728079" sldId="556"/>
            <ac:spMk id="2" creationId="{C7D8BA31-6013-6443-958E-724657D5E7C2}"/>
          </ac:spMkLst>
        </pc:spChg>
        <pc:spChg chg="mod">
          <ac:chgData name="Diane Vogelpohl" userId="b9c29d33-6e06-4640-ad35-8499308e39ed" providerId="ADAL" clId="{16FFD4CD-48B9-4B64-8F95-6EBA12B4C3D6}" dt="2025-12-15T09:46:32.857" v="377"/>
          <ac:spMkLst>
            <pc:docMk/>
            <pc:sldMk cId="1207728079" sldId="556"/>
            <ac:spMk id="3" creationId="{A20CEC09-6FC9-7011-751C-84FE2FC4239E}"/>
          </ac:spMkLst>
        </pc:spChg>
      </pc:sldChg>
    </pc:docChg>
  </pc:docChgLst>
  <pc:docChgLst>
    <pc:chgData name="Dr. Christian Thun" userId="10cc1bf3-e457-421f-83d1-bd6a7b9c79fc" providerId="ADAL" clId="{D6BB9027-DCBD-43FB-8A93-C085EFB552F6}"/>
    <pc:docChg chg="custSel addSld modSld">
      <pc:chgData name="Dr. Christian Thun" userId="10cc1bf3-e457-421f-83d1-bd6a7b9c79fc" providerId="ADAL" clId="{D6BB9027-DCBD-43FB-8A93-C085EFB552F6}" dt="2025-12-17T13:53:02.569" v="12"/>
      <pc:docMkLst>
        <pc:docMk/>
      </pc:docMkLst>
      <pc:sldChg chg="modSp add mod">
        <pc:chgData name="Dr. Christian Thun" userId="10cc1bf3-e457-421f-83d1-bd6a7b9c79fc" providerId="ADAL" clId="{D6BB9027-DCBD-43FB-8A93-C085EFB552F6}" dt="2025-12-15T15:17:02.033" v="11" actId="20577"/>
        <pc:sldMkLst>
          <pc:docMk/>
          <pc:sldMk cId="466027513" sldId="7265"/>
        </pc:sldMkLst>
        <pc:spChg chg="mod">
          <ac:chgData name="Dr. Christian Thun" userId="10cc1bf3-e457-421f-83d1-bd6a7b9c79fc" providerId="ADAL" clId="{D6BB9027-DCBD-43FB-8A93-C085EFB552F6}" dt="2025-12-15T15:16:33.600" v="8" actId="20577"/>
          <ac:spMkLst>
            <pc:docMk/>
            <pc:sldMk cId="466027513" sldId="7265"/>
            <ac:spMk id="6" creationId="{04747D04-A889-0949-595E-C06E47262136}"/>
          </ac:spMkLst>
        </pc:spChg>
        <pc:spChg chg="mod">
          <ac:chgData name="Dr. Christian Thun" userId="10cc1bf3-e457-421f-83d1-bd6a7b9c79fc" providerId="ADAL" clId="{D6BB9027-DCBD-43FB-8A93-C085EFB552F6}" dt="2025-12-15T15:17:02.033" v="11" actId="20577"/>
          <ac:spMkLst>
            <pc:docMk/>
            <pc:sldMk cId="466027513" sldId="7265"/>
            <ac:spMk id="26" creationId="{ADB3F8DE-ABD8-CAA2-ADE4-359510766544}"/>
          </ac:spMkLst>
        </pc:spChg>
      </pc:sldChg>
      <pc:sldChg chg="add">
        <pc:chgData name="Dr. Christian Thun" userId="10cc1bf3-e457-421f-83d1-bd6a7b9c79fc" providerId="ADAL" clId="{D6BB9027-DCBD-43FB-8A93-C085EFB552F6}" dt="2025-12-17T13:53:02.569" v="12"/>
        <pc:sldMkLst>
          <pc:docMk/>
          <pc:sldMk cId="3388551795" sldId="1448942822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83A94A2-8AB8-1F46-FB01-C8B49C8538E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1605F0-5AD8-FBA2-19CE-6E329D0817B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3D002E-0E9F-4134-BFDF-3CEBEFE6DEBB}" type="datetimeFigureOut">
              <a:rPr lang="en-US" smtClean="0"/>
              <a:t>12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2FF75D-6C02-AF85-99A2-F71AB89777A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DA507C-9957-AC1E-8A95-CB54677445A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11D44-D110-48F7-80D2-BDDEDB1580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297101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CD95BF-A6D1-4F76-BA1F-AE587B0D1DCC}" type="datetimeFigureOut">
              <a:rPr lang="en-US" smtClean="0"/>
              <a:t>12/1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0ED4FC-5C51-4C15-8EFB-782E0715EB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1639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ED4FC-5C51-4C15-8EFB-782E0715EB44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8189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ED4FC-5C51-4C15-8EFB-782E0715EB44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28216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ED4FC-5C51-4C15-8EFB-782E0715EB44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93524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ED4FC-5C51-4C15-8EFB-782E0715EB44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25161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ED4FC-5C51-4C15-8EFB-782E0715EB44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95639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ED4FC-5C51-4C15-8EFB-782E0715EB44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31930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Slide -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">
            <a:extLst>
              <a:ext uri="{FF2B5EF4-FFF2-40B4-BE49-F238E27FC236}">
                <a16:creationId xmlns:a16="http://schemas.microsoft.com/office/drawing/2014/main" id="{E55E68D5-F7D6-499C-06F7-B8A7404C050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4" name="Logo-Placeholder wh">
            <a:extLst>
              <a:ext uri="{FF2B5EF4-FFF2-40B4-BE49-F238E27FC236}">
                <a16:creationId xmlns:a16="http://schemas.microsoft.com/office/drawing/2014/main" id="{F21B0819-DE0E-8833-DE95-A0174642BE29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3304200" y="2475000"/>
            <a:ext cx="5583600" cy="190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latin typeface="DIN Next LT Pro Condensed" panose="020B080602020305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193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724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Speak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Border">
            <a:extLst>
              <a:ext uri="{FF2B5EF4-FFF2-40B4-BE49-F238E27FC236}">
                <a16:creationId xmlns:a16="http://schemas.microsoft.com/office/drawing/2014/main" id="{49882713-E133-98EB-3203-1D0F9441D7E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263525 w 12192000"/>
              <a:gd name="connsiteY0" fmla="*/ 268787 h 6858000"/>
              <a:gd name="connsiteX1" fmla="*/ 263525 w 12192000"/>
              <a:gd name="connsiteY1" fmla="*/ 6594742 h 6858000"/>
              <a:gd name="connsiteX2" fmla="*/ 11928475 w 12192000"/>
              <a:gd name="connsiteY2" fmla="*/ 6594742 h 6858000"/>
              <a:gd name="connsiteX3" fmla="*/ 11928475 w 12192000"/>
              <a:gd name="connsiteY3" fmla="*/ 6277672 h 6858000"/>
              <a:gd name="connsiteX4" fmla="*/ 12191999 w 12192000"/>
              <a:gd name="connsiteY4" fmla="*/ 6277672 h 6858000"/>
              <a:gd name="connsiteX5" fmla="*/ 12191999 w 12192000"/>
              <a:gd name="connsiteY5" fmla="*/ 5971672 h 6858000"/>
              <a:gd name="connsiteX6" fmla="*/ 11928475 w 12192000"/>
              <a:gd name="connsiteY6" fmla="*/ 5971672 h 6858000"/>
              <a:gd name="connsiteX7" fmla="*/ 11928475 w 12192000"/>
              <a:gd name="connsiteY7" fmla="*/ 268787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63525" y="268787"/>
                </a:moveTo>
                <a:lnTo>
                  <a:pt x="263525" y="6594742"/>
                </a:lnTo>
                <a:lnTo>
                  <a:pt x="11928475" y="6594742"/>
                </a:lnTo>
                <a:lnTo>
                  <a:pt x="11928475" y="6277672"/>
                </a:lnTo>
                <a:lnTo>
                  <a:pt x="12191999" y="6277672"/>
                </a:lnTo>
                <a:lnTo>
                  <a:pt x="12191999" y="5971672"/>
                </a:lnTo>
                <a:lnTo>
                  <a:pt x="11928475" y="5971672"/>
                </a:lnTo>
                <a:lnTo>
                  <a:pt x="11928475" y="268787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GB" dirty="0"/>
          </a:p>
        </p:txBody>
      </p:sp>
      <p:cxnSp>
        <p:nvCxnSpPr>
          <p:cNvPr id="5" name="Rote Linie">
            <a:extLst>
              <a:ext uri="{FF2B5EF4-FFF2-40B4-BE49-F238E27FC236}">
                <a16:creationId xmlns:a16="http://schemas.microsoft.com/office/drawing/2014/main" id="{E899937A-B8B6-ADDF-9D7B-C04F55E334FC}"/>
              </a:ext>
            </a:extLst>
          </p:cNvPr>
          <p:cNvCxnSpPr>
            <a:cxnSpLocks/>
          </p:cNvCxnSpPr>
          <p:nvPr userDrawn="1"/>
        </p:nvCxnSpPr>
        <p:spPr>
          <a:xfrm>
            <a:off x="911224" y="3404912"/>
            <a:ext cx="10369551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ED90E71-76FD-3634-1548-7BD982449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2304150"/>
            <a:ext cx="10508033" cy="836818"/>
          </a:xfrm>
        </p:spPr>
        <p:txBody>
          <a:bodyPr bIns="0" anchor="b" anchorCtr="0"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85AFED-B8D2-94ED-C35E-59D17D8F346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416" y="3041856"/>
            <a:ext cx="5585735" cy="565146"/>
          </a:xfrm>
          <a:solidFill>
            <a:schemeClr val="bg1"/>
          </a:solidFill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3200" cap="all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dirty="0" err="1"/>
              <a:t>Firstname</a:t>
            </a:r>
            <a:r>
              <a:rPr lang="en-GB" dirty="0"/>
              <a:t> </a:t>
            </a:r>
            <a:r>
              <a:rPr lang="en-GB" dirty="0" err="1"/>
              <a:t>Lastname</a:t>
            </a:r>
            <a:r>
              <a:rPr lang="en-GB" dirty="0"/>
              <a:t>, Company Name</a:t>
            </a:r>
          </a:p>
        </p:txBody>
      </p:sp>
      <p:pic>
        <p:nvPicPr>
          <p:cNvPr id="11" name="EDW-Logo wh">
            <a:extLst>
              <a:ext uri="{FF2B5EF4-FFF2-40B4-BE49-F238E27FC236}">
                <a16:creationId xmlns:a16="http://schemas.microsoft.com/office/drawing/2014/main" id="{527C5D24-82BA-9FB7-4DE1-7893E97D73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68350" y="6034672"/>
            <a:ext cx="526830" cy="180000"/>
          </a:xfrm>
          <a:prstGeom prst="rect">
            <a:avLst/>
          </a:prstGeom>
        </p:spPr>
      </p:pic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ED80D54-59D8-64D0-51DF-F1701EF3A45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9D6694A3-DD64-5545-4EB4-3972948084F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76BFAD5-7782-1382-3D56-629C1FF2BA9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14426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44E63B6D-D647-7569-8E2D-A08E6710F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E13C2F-832B-78A7-7418-606A3C047F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5781" y="1548000"/>
            <a:ext cx="10512425" cy="288000"/>
          </a:xfrm>
        </p:spPr>
        <p:txBody>
          <a:bodyPr wrap="square" lIns="72000" tIns="36000" rIns="72000" bIns="36000">
            <a:noAutofit/>
          </a:bodyPr>
          <a:lstStyle>
            <a:lvl1pPr>
              <a:lnSpc>
                <a:spcPct val="100000"/>
              </a:lnSpc>
              <a:defRPr sz="14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BEDF1B-06F4-F1F0-F5A6-AE544DC352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44ED87-6623-EA44-ED8F-AD0B06E0B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  <p:cxnSp>
        <p:nvCxnSpPr>
          <p:cNvPr id="2" name="Rote Linie">
            <a:extLst>
              <a:ext uri="{FF2B5EF4-FFF2-40B4-BE49-F238E27FC236}">
                <a16:creationId xmlns:a16="http://schemas.microsoft.com/office/drawing/2014/main" id="{38491B4B-F8D5-627E-99EE-FF60218D7B85}"/>
              </a:ext>
            </a:extLst>
          </p:cNvPr>
          <p:cNvCxnSpPr>
            <a:cxnSpLocks/>
          </p:cNvCxnSpPr>
          <p:nvPr userDrawn="1"/>
        </p:nvCxnSpPr>
        <p:spPr>
          <a:xfrm>
            <a:off x="720000" y="0"/>
            <a:ext cx="0" cy="172800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FBED2B0-078E-DF50-D6F3-98101FC3A9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07AA12-75C3-6447-942C-2B621DEF42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706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9AED974F-2352-712B-7F03-D48DEA338D29}"/>
              </a:ext>
            </a:extLst>
          </p:cNvPr>
          <p:cNvSpPr/>
          <p:nvPr userDrawn="1"/>
        </p:nvSpPr>
        <p:spPr>
          <a:xfrm>
            <a:off x="263525" y="260350"/>
            <a:ext cx="11664950" cy="633439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76200" dir="2700000" algn="tl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E64425F0-8F78-1F1A-28E8-FC6B7EF9661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63525" y="260350"/>
            <a:ext cx="11664950" cy="1746000"/>
          </a:xfrm>
          <a:solidFill>
            <a:schemeClr val="bg1">
              <a:lumMod val="75000"/>
            </a:schemeClr>
          </a:solidFill>
          <a:effectLst/>
        </p:spPr>
        <p:txBody>
          <a:bodyPr/>
          <a:lstStyle>
            <a:lvl1pPr algn="ctr"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44E63B6D-D647-7569-8E2D-A08E6710F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E13C2F-832B-78A7-7418-606A3C047F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5781" y="1548000"/>
            <a:ext cx="10512425" cy="288000"/>
          </a:xfrm>
        </p:spPr>
        <p:txBody>
          <a:bodyPr wrap="square" lIns="72000" tIns="36000" rIns="72000" bIns="36000">
            <a:noAutofit/>
          </a:bodyPr>
          <a:lstStyle>
            <a:lvl1pPr>
              <a:lnSpc>
                <a:spcPct val="100000"/>
              </a:lnSpc>
              <a:defRPr sz="14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BEDF1B-06F4-F1F0-F5A6-AE544DC352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2" name="Line-Placeholder red">
            <a:extLst>
              <a:ext uri="{FF2B5EF4-FFF2-40B4-BE49-F238E27FC236}">
                <a16:creationId xmlns:a16="http://schemas.microsoft.com/office/drawing/2014/main" id="{D20AD2FC-A2AC-7086-7D4D-85EFE7EE8D90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709200" y="0"/>
            <a:ext cx="32400" cy="172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latin typeface="DIN Next LT Pro Condensed" panose="020B080602020305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  <p:sp>
        <p:nvSpPr>
          <p:cNvPr id="7" name="Rectangle-Placeholder red">
            <a:extLst>
              <a:ext uri="{FF2B5EF4-FFF2-40B4-BE49-F238E27FC236}">
                <a16:creationId xmlns:a16="http://schemas.microsoft.com/office/drawing/2014/main" id="{84C26E4E-578C-DB0A-9C87-57077DFC5D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230000" y="5968800"/>
            <a:ext cx="1962000" cy="3132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>
                <a:latin typeface="DIN Next LT Pro Condensed" panose="020B080602020305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44ED87-6623-EA44-ED8F-AD0B06E0B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onfidentia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8CE1DF-CD6F-FF9B-9314-A7749265723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3C65E78-B56E-7352-E4D0-56BAA3B7428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38822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A3D5D26-F035-9F43-4841-6B1D8E94EE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6F10C72-8076-57BC-BD15-D02F146D5B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5781" y="1548000"/>
            <a:ext cx="10512425" cy="284609"/>
          </a:xfrm>
        </p:spPr>
        <p:txBody>
          <a:bodyPr wrap="square" lIns="72000" tIns="36000" rIns="72000" bIns="36000">
            <a:noAutofit/>
          </a:bodyPr>
          <a:lstStyle>
            <a:lvl1pPr>
              <a:lnSpc>
                <a:spcPct val="100000"/>
              </a:lnSpc>
              <a:defRPr sz="14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10D7B2-9F80-2216-DCC3-CDDC6B3669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205037"/>
            <a:ext cx="5181600" cy="36004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901B2E-8E4D-417D-25F4-8A5A275C09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205037"/>
            <a:ext cx="5181600" cy="36004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050D59-99BC-A360-E07E-804BE7C108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  <p:cxnSp>
        <p:nvCxnSpPr>
          <p:cNvPr id="2" name="Rote Linie">
            <a:extLst>
              <a:ext uri="{FF2B5EF4-FFF2-40B4-BE49-F238E27FC236}">
                <a16:creationId xmlns:a16="http://schemas.microsoft.com/office/drawing/2014/main" id="{AB3922B0-5CA1-F513-A6BC-480D5D512AB9}"/>
              </a:ext>
            </a:extLst>
          </p:cNvPr>
          <p:cNvCxnSpPr>
            <a:cxnSpLocks/>
          </p:cNvCxnSpPr>
          <p:nvPr userDrawn="1"/>
        </p:nvCxnSpPr>
        <p:spPr>
          <a:xfrm>
            <a:off x="720000" y="0"/>
            <a:ext cx="0" cy="172800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21DF890E-91FD-49ED-E794-0B8B141CB04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738F95F-62F5-CF2A-EC54-0DBFD6C858E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79631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Border">
            <a:extLst>
              <a:ext uri="{FF2B5EF4-FFF2-40B4-BE49-F238E27FC236}">
                <a16:creationId xmlns:a16="http://schemas.microsoft.com/office/drawing/2014/main" id="{B07A91DA-5A48-2C9D-41ED-B18D8D052A0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263525 w 12192000"/>
              <a:gd name="connsiteY0" fmla="*/ 268787 h 6858000"/>
              <a:gd name="connsiteX1" fmla="*/ 263525 w 12192000"/>
              <a:gd name="connsiteY1" fmla="*/ 6594742 h 6858000"/>
              <a:gd name="connsiteX2" fmla="*/ 11928475 w 12192000"/>
              <a:gd name="connsiteY2" fmla="*/ 6594742 h 6858000"/>
              <a:gd name="connsiteX3" fmla="*/ 11928475 w 12192000"/>
              <a:gd name="connsiteY3" fmla="*/ 6277672 h 6858000"/>
              <a:gd name="connsiteX4" fmla="*/ 12191999 w 12192000"/>
              <a:gd name="connsiteY4" fmla="*/ 6277672 h 6858000"/>
              <a:gd name="connsiteX5" fmla="*/ 12191999 w 12192000"/>
              <a:gd name="connsiteY5" fmla="*/ 5971672 h 6858000"/>
              <a:gd name="connsiteX6" fmla="*/ 11928475 w 12192000"/>
              <a:gd name="connsiteY6" fmla="*/ 5971672 h 6858000"/>
              <a:gd name="connsiteX7" fmla="*/ 11928475 w 12192000"/>
              <a:gd name="connsiteY7" fmla="*/ 268787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63525" y="268787"/>
                </a:moveTo>
                <a:lnTo>
                  <a:pt x="263525" y="6594742"/>
                </a:lnTo>
                <a:lnTo>
                  <a:pt x="11928475" y="6594742"/>
                </a:lnTo>
                <a:lnTo>
                  <a:pt x="11928475" y="6277672"/>
                </a:lnTo>
                <a:lnTo>
                  <a:pt x="12191999" y="6277672"/>
                </a:lnTo>
                <a:lnTo>
                  <a:pt x="12191999" y="5971672"/>
                </a:lnTo>
                <a:lnTo>
                  <a:pt x="11928475" y="5971672"/>
                </a:lnTo>
                <a:lnTo>
                  <a:pt x="11928475" y="268787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10" name="Line-Placeholder red">
            <a:extLst>
              <a:ext uri="{FF2B5EF4-FFF2-40B4-BE49-F238E27FC236}">
                <a16:creationId xmlns:a16="http://schemas.microsoft.com/office/drawing/2014/main" id="{7E04147C-9EB0-6D41-3577-CBC63A9916C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709200" y="0"/>
            <a:ext cx="32400" cy="172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latin typeface="DIN Next LT Pro Condensed" panose="020B080602020305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A3D5D26-F035-9F43-4841-6B1D8E94EE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6F10C72-8076-57BC-BD15-D02F146D5B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5781" y="1548000"/>
            <a:ext cx="10512425" cy="284609"/>
          </a:xfrm>
        </p:spPr>
        <p:txBody>
          <a:bodyPr wrap="square" lIns="72000" tIns="36000" rIns="72000" bIns="36000">
            <a:noAutofit/>
          </a:bodyPr>
          <a:lstStyle>
            <a:lvl1pPr>
              <a:lnSpc>
                <a:spcPct val="100000"/>
              </a:lnSpc>
              <a:defRPr sz="14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10D7B2-9F80-2216-DCC3-CDDC6B3669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205037"/>
            <a:ext cx="5181600" cy="36004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901B2E-8E4D-417D-25F4-8A5A275C09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205037"/>
            <a:ext cx="5181600" cy="36004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050D59-99BC-A360-E07E-804BE7C108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3300106C-8F81-4DEA-248B-252D960801C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9D61B01-BBF4-7B52-9429-D11B237F5ED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10614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A3D5D26-F035-9F43-4841-6B1D8E94EE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6F10C72-8076-57BC-BD15-D02F146D5B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5781" y="1548000"/>
            <a:ext cx="10512425" cy="284609"/>
          </a:xfrm>
        </p:spPr>
        <p:txBody>
          <a:bodyPr wrap="square" lIns="72000" tIns="36000" rIns="72000" bIns="36000">
            <a:noAutofit/>
          </a:bodyPr>
          <a:lstStyle>
            <a:lvl1pPr>
              <a:lnSpc>
                <a:spcPct val="100000"/>
              </a:lnSpc>
              <a:defRPr sz="14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10D7B2-9F80-2216-DCC3-CDDC6B3669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205037"/>
            <a:ext cx="3384000" cy="36004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901B2E-8E4D-417D-25F4-8A5A275C09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1203" y="2205037"/>
            <a:ext cx="3384000" cy="36004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5619B205-1DD9-0B5D-4847-08BE590C9A68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973731" y="2205037"/>
            <a:ext cx="3384000" cy="36004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050D59-99BC-A360-E07E-804BE7C108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  <p:cxnSp>
        <p:nvCxnSpPr>
          <p:cNvPr id="2" name="Rote Linie">
            <a:extLst>
              <a:ext uri="{FF2B5EF4-FFF2-40B4-BE49-F238E27FC236}">
                <a16:creationId xmlns:a16="http://schemas.microsoft.com/office/drawing/2014/main" id="{3C63FC48-F75F-5117-76BD-CFB43D0570F2}"/>
              </a:ext>
            </a:extLst>
          </p:cNvPr>
          <p:cNvCxnSpPr>
            <a:cxnSpLocks/>
          </p:cNvCxnSpPr>
          <p:nvPr userDrawn="1"/>
        </p:nvCxnSpPr>
        <p:spPr>
          <a:xfrm>
            <a:off x="720000" y="0"/>
            <a:ext cx="0" cy="172800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82007AC5-BD20-8CCB-8E9C-0D3196F3A14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4362481-28DF-98DA-3D1C-8282A80929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912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blue and white rectangle&#10;&#10;Description automatically generated">
            <a:extLst>
              <a:ext uri="{FF2B5EF4-FFF2-40B4-BE49-F238E27FC236}">
                <a16:creationId xmlns:a16="http://schemas.microsoft.com/office/drawing/2014/main" id="{D2A58BEA-3738-97ED-3783-3B03862F3B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" y="0"/>
            <a:ext cx="12190781" cy="6858000"/>
          </a:xfrm>
          <a:prstGeom prst="rect">
            <a:avLst/>
          </a:prstGeom>
        </p:spPr>
      </p:pic>
      <p:cxnSp>
        <p:nvCxnSpPr>
          <p:cNvPr id="11" name="Rote Linie">
            <a:extLst>
              <a:ext uri="{FF2B5EF4-FFF2-40B4-BE49-F238E27FC236}">
                <a16:creationId xmlns:a16="http://schemas.microsoft.com/office/drawing/2014/main" id="{561EFF65-A7C1-EC15-731F-A79B85954BAF}"/>
              </a:ext>
            </a:extLst>
          </p:cNvPr>
          <p:cNvCxnSpPr>
            <a:cxnSpLocks/>
          </p:cNvCxnSpPr>
          <p:nvPr userDrawn="1"/>
        </p:nvCxnSpPr>
        <p:spPr>
          <a:xfrm>
            <a:off x="720000" y="0"/>
            <a:ext cx="0" cy="144000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itle 20">
            <a:extLst>
              <a:ext uri="{FF2B5EF4-FFF2-40B4-BE49-F238E27FC236}">
                <a16:creationId xmlns:a16="http://schemas.microsoft.com/office/drawing/2014/main" id="{6811E87F-7BAB-89CC-BC5C-3F7CA0B1E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726604"/>
            <a:ext cx="5181598" cy="8640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10D7B2-9F80-2216-DCC3-CDDC6B3669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205037"/>
            <a:ext cx="5181600" cy="360045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901B2E-8E4D-417D-25F4-8A5A275C09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728701"/>
            <a:ext cx="5181600" cy="50767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0" name="Rectangle-Placeholder red">
            <a:extLst>
              <a:ext uri="{FF2B5EF4-FFF2-40B4-BE49-F238E27FC236}">
                <a16:creationId xmlns:a16="http://schemas.microsoft.com/office/drawing/2014/main" id="{B34D4F67-6168-B8D7-302A-3731849263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30000" y="5968800"/>
            <a:ext cx="1962000" cy="306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latin typeface="DIN Next LT Pro Condensed" panose="020B080602020305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892E41BF-12C3-9A64-4576-1DD82760F83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FECD11-170E-6C2E-CBB5-EA689C1E1AA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050D59-99BC-A360-E07E-804BE7C108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38859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line, 1/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blue and white rectangle&#10;&#10;Description automatically generated">
            <a:extLst>
              <a:ext uri="{FF2B5EF4-FFF2-40B4-BE49-F238E27FC236}">
                <a16:creationId xmlns:a16="http://schemas.microsoft.com/office/drawing/2014/main" id="{D2A58BEA-3738-97ED-3783-3B03862F3B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" y="0"/>
            <a:ext cx="12190781" cy="6858000"/>
          </a:xfrm>
          <a:prstGeom prst="rect">
            <a:avLst/>
          </a:prstGeom>
        </p:spPr>
      </p:pic>
      <p:sp>
        <p:nvSpPr>
          <p:cNvPr id="21" name="Title 20">
            <a:extLst>
              <a:ext uri="{FF2B5EF4-FFF2-40B4-BE49-F238E27FC236}">
                <a16:creationId xmlns:a16="http://schemas.microsoft.com/office/drawing/2014/main" id="{6811E87F-7BAB-89CC-BC5C-3F7CA0B1E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726604"/>
            <a:ext cx="5179180" cy="8640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60074A4-379E-5FD4-1D80-30426B8880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5782" y="1548000"/>
            <a:ext cx="5181600" cy="288000"/>
          </a:xfrm>
        </p:spPr>
        <p:txBody>
          <a:bodyPr wrap="square" lIns="72000" tIns="36000" rIns="72000" bIns="36000">
            <a:noAutofit/>
          </a:bodyPr>
          <a:lstStyle>
            <a:lvl1pPr>
              <a:lnSpc>
                <a:spcPct val="100000"/>
              </a:lnSpc>
              <a:defRPr sz="14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10D7B2-9F80-2216-DCC3-CDDC6B3669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205037"/>
            <a:ext cx="5181600" cy="360045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901B2E-8E4D-417D-25F4-8A5A275C09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728701"/>
            <a:ext cx="5181600" cy="50767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2" name="Rectangle-Placeholder red">
            <a:extLst>
              <a:ext uri="{FF2B5EF4-FFF2-40B4-BE49-F238E27FC236}">
                <a16:creationId xmlns:a16="http://schemas.microsoft.com/office/drawing/2014/main" id="{038CB07F-6EDF-5CDA-885F-97DF03EF50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30000" y="5968800"/>
            <a:ext cx="1962000" cy="306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latin typeface="DIN Next LT Pro Condensed" panose="020B080602020305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050D59-99BC-A360-E07E-804BE7C108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  <p:cxnSp>
        <p:nvCxnSpPr>
          <p:cNvPr id="9" name="Rote Linie">
            <a:extLst>
              <a:ext uri="{FF2B5EF4-FFF2-40B4-BE49-F238E27FC236}">
                <a16:creationId xmlns:a16="http://schemas.microsoft.com/office/drawing/2014/main" id="{08D1C6A4-38FA-9E26-1003-71149E3935B7}"/>
              </a:ext>
            </a:extLst>
          </p:cNvPr>
          <p:cNvCxnSpPr>
            <a:cxnSpLocks/>
          </p:cNvCxnSpPr>
          <p:nvPr userDrawn="1"/>
        </p:nvCxnSpPr>
        <p:spPr>
          <a:xfrm>
            <a:off x="720000" y="0"/>
            <a:ext cx="0" cy="172800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B7A1EA29-EA0D-F529-45BA-C471B3C396F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48F90BE-32D3-C0E2-856F-FD6E4560DB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93579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D7F668-B817-5B3C-098E-FDB660969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1AD2D4-00EC-A6B4-4EFC-1548EC039B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C5644EE5-D6F9-76ED-AAA9-293B1150F9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5781" y="1548000"/>
            <a:ext cx="10512425" cy="284609"/>
          </a:xfrm>
        </p:spPr>
        <p:txBody>
          <a:bodyPr wrap="square" lIns="72000" tIns="36000" rIns="72000" bIns="36000">
            <a:noAutofit/>
          </a:bodyPr>
          <a:lstStyle>
            <a:lvl1pPr>
              <a:lnSpc>
                <a:spcPct val="100000"/>
              </a:lnSpc>
              <a:defRPr sz="14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7" name="Rote Linie">
            <a:extLst>
              <a:ext uri="{FF2B5EF4-FFF2-40B4-BE49-F238E27FC236}">
                <a16:creationId xmlns:a16="http://schemas.microsoft.com/office/drawing/2014/main" id="{2F81D30B-CCA2-DF5F-9308-30543FE6C023}"/>
              </a:ext>
            </a:extLst>
          </p:cNvPr>
          <p:cNvCxnSpPr>
            <a:cxnSpLocks/>
          </p:cNvCxnSpPr>
          <p:nvPr userDrawn="1"/>
        </p:nvCxnSpPr>
        <p:spPr>
          <a:xfrm>
            <a:off x="720000" y="0"/>
            <a:ext cx="0" cy="172800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8F1846C7-1F15-AED7-BC5D-9C1DDAF5642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F8FE083-320B-8C45-4C27-0F67C308FF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53948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Rote Linie">
            <a:extLst>
              <a:ext uri="{FF2B5EF4-FFF2-40B4-BE49-F238E27FC236}">
                <a16:creationId xmlns:a16="http://schemas.microsoft.com/office/drawing/2014/main" id="{0B57FD2F-2317-98A8-C271-15AAFBEABA15}"/>
              </a:ext>
            </a:extLst>
          </p:cNvPr>
          <p:cNvCxnSpPr>
            <a:cxnSpLocks/>
          </p:cNvCxnSpPr>
          <p:nvPr userDrawn="1"/>
        </p:nvCxnSpPr>
        <p:spPr>
          <a:xfrm>
            <a:off x="720000" y="0"/>
            <a:ext cx="0" cy="144000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1D7F668-B817-5B3C-098E-FDB660969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1AD2D4-00EC-A6B4-4EFC-1548EC039B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B8353CF-10D8-8884-028B-703230FE98C8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A9240E-8788-AAA5-B26B-7ED6D39554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4712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Slide - Blu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">
            <a:extLst>
              <a:ext uri="{FF2B5EF4-FFF2-40B4-BE49-F238E27FC236}">
                <a16:creationId xmlns:a16="http://schemas.microsoft.com/office/drawing/2014/main" id="{E55E68D5-F7D6-499C-06F7-B8A7404C050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4" name="Logo-Placeholder bl">
            <a:extLst>
              <a:ext uri="{FF2B5EF4-FFF2-40B4-BE49-F238E27FC236}">
                <a16:creationId xmlns:a16="http://schemas.microsoft.com/office/drawing/2014/main" id="{F21B0819-DE0E-8833-DE95-A0174642BE29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3304200" y="2475000"/>
            <a:ext cx="5583600" cy="190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latin typeface="DIN Next LT Pro Condensed" panose="020B080602020305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2083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7242" userDrawn="1">
          <p15:clr>
            <a:srgbClr val="FBAE40"/>
          </p15:clr>
        </p15:guide>
        <p15:guide id="4" pos="43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Rote Linie">
            <a:extLst>
              <a:ext uri="{FF2B5EF4-FFF2-40B4-BE49-F238E27FC236}">
                <a16:creationId xmlns:a16="http://schemas.microsoft.com/office/drawing/2014/main" id="{0B57FD2F-2317-98A8-C271-15AAFBEABA15}"/>
              </a:ext>
            </a:extLst>
          </p:cNvPr>
          <p:cNvCxnSpPr>
            <a:cxnSpLocks/>
          </p:cNvCxnSpPr>
          <p:nvPr userDrawn="1"/>
        </p:nvCxnSpPr>
        <p:spPr>
          <a:xfrm>
            <a:off x="720000" y="0"/>
            <a:ext cx="0" cy="144000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1D7F668-B817-5B3C-098E-FDB660969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1AD2D4-00EC-A6B4-4EFC-1548EC039B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64B3508-8EE8-64BE-D63C-556E1CB2B5E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7269B4-11F6-FB67-AFCE-421BB6273D2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23327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 with Imag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Border">
            <a:extLst>
              <a:ext uri="{FF2B5EF4-FFF2-40B4-BE49-F238E27FC236}">
                <a16:creationId xmlns:a16="http://schemas.microsoft.com/office/drawing/2014/main" id="{C26C5A1F-AF55-2398-B300-B06C70C47CA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263525 w 12192000"/>
              <a:gd name="connsiteY0" fmla="*/ 268787 h 6858000"/>
              <a:gd name="connsiteX1" fmla="*/ 263525 w 12192000"/>
              <a:gd name="connsiteY1" fmla="*/ 6594742 h 6858000"/>
              <a:gd name="connsiteX2" fmla="*/ 11928475 w 12192000"/>
              <a:gd name="connsiteY2" fmla="*/ 6594742 h 6858000"/>
              <a:gd name="connsiteX3" fmla="*/ 11928475 w 12192000"/>
              <a:gd name="connsiteY3" fmla="*/ 6277672 h 6858000"/>
              <a:gd name="connsiteX4" fmla="*/ 12191999 w 12192000"/>
              <a:gd name="connsiteY4" fmla="*/ 6277672 h 6858000"/>
              <a:gd name="connsiteX5" fmla="*/ 12191999 w 12192000"/>
              <a:gd name="connsiteY5" fmla="*/ 5971672 h 6858000"/>
              <a:gd name="connsiteX6" fmla="*/ 11928475 w 12192000"/>
              <a:gd name="connsiteY6" fmla="*/ 5971672 h 6858000"/>
              <a:gd name="connsiteX7" fmla="*/ 11928475 w 12192000"/>
              <a:gd name="connsiteY7" fmla="*/ 268787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63525" y="268787"/>
                </a:moveTo>
                <a:lnTo>
                  <a:pt x="263525" y="6594742"/>
                </a:lnTo>
                <a:lnTo>
                  <a:pt x="11928475" y="6594742"/>
                </a:lnTo>
                <a:lnTo>
                  <a:pt x="11928475" y="6277672"/>
                </a:lnTo>
                <a:lnTo>
                  <a:pt x="12191999" y="6277672"/>
                </a:lnTo>
                <a:lnTo>
                  <a:pt x="12191999" y="5971672"/>
                </a:lnTo>
                <a:lnTo>
                  <a:pt x="11928475" y="5971672"/>
                </a:lnTo>
                <a:lnTo>
                  <a:pt x="11928475" y="268787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16" name="Line-Placeholder red">
            <a:extLst>
              <a:ext uri="{FF2B5EF4-FFF2-40B4-BE49-F238E27FC236}">
                <a16:creationId xmlns:a16="http://schemas.microsoft.com/office/drawing/2014/main" id="{096A147D-83E9-4071-0311-181909F519AC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709200" y="0"/>
            <a:ext cx="32400" cy="1440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latin typeface="DIN Next LT Pro Condensed" panose="020B080602020305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D7F668-B817-5B3C-098E-FDB660969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1AD2D4-00EC-A6B4-4EFC-1548EC039B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EDB052-7293-7A1E-494F-9A255E02953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90EA00-59FA-D404-E3EC-2F5CEE17644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73450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ubline and Imag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Border">
            <a:extLst>
              <a:ext uri="{FF2B5EF4-FFF2-40B4-BE49-F238E27FC236}">
                <a16:creationId xmlns:a16="http://schemas.microsoft.com/office/drawing/2014/main" id="{769C689A-76A4-1A29-756D-21ECFBBFE91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263525 w 12192000"/>
              <a:gd name="connsiteY0" fmla="*/ 268787 h 6858000"/>
              <a:gd name="connsiteX1" fmla="*/ 263525 w 12192000"/>
              <a:gd name="connsiteY1" fmla="*/ 6594742 h 6858000"/>
              <a:gd name="connsiteX2" fmla="*/ 11928475 w 12192000"/>
              <a:gd name="connsiteY2" fmla="*/ 6594742 h 6858000"/>
              <a:gd name="connsiteX3" fmla="*/ 11928475 w 12192000"/>
              <a:gd name="connsiteY3" fmla="*/ 6277672 h 6858000"/>
              <a:gd name="connsiteX4" fmla="*/ 12191999 w 12192000"/>
              <a:gd name="connsiteY4" fmla="*/ 6277672 h 6858000"/>
              <a:gd name="connsiteX5" fmla="*/ 12191999 w 12192000"/>
              <a:gd name="connsiteY5" fmla="*/ 5971672 h 6858000"/>
              <a:gd name="connsiteX6" fmla="*/ 11928475 w 12192000"/>
              <a:gd name="connsiteY6" fmla="*/ 5971672 h 6858000"/>
              <a:gd name="connsiteX7" fmla="*/ 11928475 w 12192000"/>
              <a:gd name="connsiteY7" fmla="*/ 268787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63525" y="268787"/>
                </a:moveTo>
                <a:lnTo>
                  <a:pt x="263525" y="6594742"/>
                </a:lnTo>
                <a:lnTo>
                  <a:pt x="11928475" y="6594742"/>
                </a:lnTo>
                <a:lnTo>
                  <a:pt x="11928475" y="6277672"/>
                </a:lnTo>
                <a:lnTo>
                  <a:pt x="12191999" y="6277672"/>
                </a:lnTo>
                <a:lnTo>
                  <a:pt x="12191999" y="5971672"/>
                </a:lnTo>
                <a:lnTo>
                  <a:pt x="11928475" y="5971672"/>
                </a:lnTo>
                <a:lnTo>
                  <a:pt x="11928475" y="268787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D7F668-B817-5B3C-098E-FDB660969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1AD2D4-00EC-A6B4-4EFC-1548EC039B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C5644EE5-D6F9-76ED-AAA9-293B1150F9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5781" y="1548000"/>
            <a:ext cx="10512425" cy="284609"/>
          </a:xfrm>
        </p:spPr>
        <p:txBody>
          <a:bodyPr wrap="square" lIns="72000" tIns="36000" rIns="72000" bIns="36000">
            <a:noAutofit/>
          </a:bodyPr>
          <a:lstStyle>
            <a:lvl1pPr>
              <a:lnSpc>
                <a:spcPct val="100000"/>
              </a:lnSpc>
              <a:defRPr sz="14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8F1846C7-1F15-AED7-BC5D-9C1DDAF5642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F8FE083-320B-8C45-4C27-0F67C308FF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Line-Placeholder red">
            <a:extLst>
              <a:ext uri="{FF2B5EF4-FFF2-40B4-BE49-F238E27FC236}">
                <a16:creationId xmlns:a16="http://schemas.microsoft.com/office/drawing/2014/main" id="{1B108996-1D53-BDE7-8354-E91665BEFB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200" y="0"/>
            <a:ext cx="32400" cy="172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latin typeface="DIN Next LT Pro Condensed" panose="020B080602020305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02035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E20FD1-F194-516C-6650-8F9BD0EA6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  <p:cxnSp>
        <p:nvCxnSpPr>
          <p:cNvPr id="5" name="Rote Linie">
            <a:extLst>
              <a:ext uri="{FF2B5EF4-FFF2-40B4-BE49-F238E27FC236}">
                <a16:creationId xmlns:a16="http://schemas.microsoft.com/office/drawing/2014/main" id="{48B9145F-DA39-4D9B-8AF1-BE085E2D333A}"/>
              </a:ext>
            </a:extLst>
          </p:cNvPr>
          <p:cNvCxnSpPr>
            <a:cxnSpLocks/>
          </p:cNvCxnSpPr>
          <p:nvPr userDrawn="1"/>
        </p:nvCxnSpPr>
        <p:spPr>
          <a:xfrm>
            <a:off x="720000" y="0"/>
            <a:ext cx="0" cy="172800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34A5FBA-0F82-C436-E6A6-D89B1737C4F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7C1784-0BFF-1A24-0FD7-0BA445297B4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94210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E20FD1-F194-516C-6650-8F9BD0EA6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E7C931-0B30-ACAA-EC9B-28EACBF0CF4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932F0F-351B-4680-AD62-30F6217F325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2648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Rote Linie">
            <a:extLst>
              <a:ext uri="{FF2B5EF4-FFF2-40B4-BE49-F238E27FC236}">
                <a16:creationId xmlns:a16="http://schemas.microsoft.com/office/drawing/2014/main" id="{0B57FD2F-2317-98A8-C271-15AAFBEABA15}"/>
              </a:ext>
            </a:extLst>
          </p:cNvPr>
          <p:cNvCxnSpPr>
            <a:cxnSpLocks/>
          </p:cNvCxnSpPr>
          <p:nvPr/>
        </p:nvCxnSpPr>
        <p:spPr>
          <a:xfrm>
            <a:off x="720000" y="0"/>
            <a:ext cx="0" cy="144000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1D7F668-B817-5B3C-098E-FDB660969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2738B08-EE6F-574F-1AB5-A69699CECB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47751" y="2168860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latin typeface="+mj-lt"/>
              </a:defRPr>
            </a:lvl1pPr>
          </a:lstStyle>
          <a:p>
            <a:pPr lvl="0"/>
            <a:r>
              <a:rPr lang="en-GB" dirty="0" err="1"/>
              <a:t>FirstnameLastname</a:t>
            </a:r>
            <a:endParaRPr lang="en-GB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F916545D-5C14-8E8E-63B7-DAF0746788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47751" y="2409218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ompany Name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3FFE645F-6FE5-543B-809C-48D29A9B8F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47751" y="2671200"/>
            <a:ext cx="2232025" cy="316071"/>
          </a:xfrm>
        </p:spPr>
        <p:txBody>
          <a:bodyPr/>
          <a:lstStyle>
            <a:lvl1pPr>
              <a:lnSpc>
                <a:spcPct val="100000"/>
              </a:lnSpc>
              <a:defRPr sz="10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E-Mail Address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AF7F8F9F-927C-DCF3-2A8E-BFE448B74586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919163" y="2203785"/>
            <a:ext cx="756000" cy="756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6914E0DF-1A58-7995-B294-B3D66A273C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46800" y="3548796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latin typeface="+mj-lt"/>
              </a:defRPr>
            </a:lvl1pPr>
          </a:lstStyle>
          <a:p>
            <a:pPr lvl="0"/>
            <a:r>
              <a:rPr lang="en-GB" dirty="0" err="1"/>
              <a:t>FirstnameLastname</a:t>
            </a:r>
            <a:endParaRPr lang="en-GB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3802963B-65D7-75A0-B29A-ECBDE79561D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6800" y="3789154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ompany Nam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9DDADB4E-2BC7-8E67-D29E-0899D8CE08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846800" y="4053600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0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E-Mail Address</a:t>
            </a:r>
          </a:p>
        </p:txBody>
      </p:sp>
      <p:sp>
        <p:nvSpPr>
          <p:cNvPr id="22" name="Picture Placeholder 17">
            <a:extLst>
              <a:ext uri="{FF2B5EF4-FFF2-40B4-BE49-F238E27FC236}">
                <a16:creationId xmlns:a16="http://schemas.microsoft.com/office/drawing/2014/main" id="{E6861C5B-B35F-19BF-E5FD-ECDE5D6F9A6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919163" y="3583721"/>
            <a:ext cx="756000" cy="756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7D36B12C-1BD0-66C3-468F-08CB69568E5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46800" y="4928732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latin typeface="+mj-lt"/>
              </a:defRPr>
            </a:lvl1pPr>
          </a:lstStyle>
          <a:p>
            <a:pPr lvl="0"/>
            <a:r>
              <a:rPr lang="en-GB" dirty="0" err="1"/>
              <a:t>FirstnameLastname</a:t>
            </a:r>
            <a:endParaRPr lang="en-GB" dirty="0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19204572-FCAA-BC26-EF1A-AFEDC2B17C4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46800" y="5169090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ompany Name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62580411-F508-EBE8-5317-806B09F459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846800" y="5432400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0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E-Mail Address</a:t>
            </a:r>
          </a:p>
        </p:txBody>
      </p:sp>
      <p:sp>
        <p:nvSpPr>
          <p:cNvPr id="26" name="Picture Placeholder 17">
            <a:extLst>
              <a:ext uri="{FF2B5EF4-FFF2-40B4-BE49-F238E27FC236}">
                <a16:creationId xmlns:a16="http://schemas.microsoft.com/office/drawing/2014/main" id="{DFDC7701-D737-1F04-B746-C905CA7B6AE2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19163" y="4963657"/>
            <a:ext cx="756000" cy="756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51" name="Text Placeholder 13">
            <a:extLst>
              <a:ext uri="{FF2B5EF4-FFF2-40B4-BE49-F238E27FC236}">
                <a16:creationId xmlns:a16="http://schemas.microsoft.com/office/drawing/2014/main" id="{57E855CD-4F3A-4AE3-9CF4-7F7A0252F47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5200" y="2168860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latin typeface="+mj-lt"/>
              </a:defRPr>
            </a:lvl1pPr>
          </a:lstStyle>
          <a:p>
            <a:pPr lvl="0"/>
            <a:r>
              <a:rPr lang="en-GB" dirty="0" err="1"/>
              <a:t>FirstnameLastname</a:t>
            </a:r>
            <a:endParaRPr lang="en-GB" dirty="0"/>
          </a:p>
        </p:txBody>
      </p:sp>
      <p:sp>
        <p:nvSpPr>
          <p:cNvPr id="52" name="Text Placeholder 13">
            <a:extLst>
              <a:ext uri="{FF2B5EF4-FFF2-40B4-BE49-F238E27FC236}">
                <a16:creationId xmlns:a16="http://schemas.microsoft.com/office/drawing/2014/main" id="{9C4E7E46-A72B-2C1F-F125-FD8DB4E7B1B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5200" y="2409218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ompany Name</a:t>
            </a:r>
          </a:p>
        </p:txBody>
      </p:sp>
      <p:sp>
        <p:nvSpPr>
          <p:cNvPr id="53" name="Text Placeholder 13">
            <a:extLst>
              <a:ext uri="{FF2B5EF4-FFF2-40B4-BE49-F238E27FC236}">
                <a16:creationId xmlns:a16="http://schemas.microsoft.com/office/drawing/2014/main" id="{12A32968-EC70-4DEE-028F-3610368951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55200" y="2672618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0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E-Mail Address</a:t>
            </a:r>
          </a:p>
        </p:txBody>
      </p:sp>
      <p:sp>
        <p:nvSpPr>
          <p:cNvPr id="54" name="Picture Placeholder 17">
            <a:extLst>
              <a:ext uri="{FF2B5EF4-FFF2-40B4-BE49-F238E27FC236}">
                <a16:creationId xmlns:a16="http://schemas.microsoft.com/office/drawing/2014/main" id="{CB230D7A-B812-ED2D-5881-30766A3D837D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4227661" y="2203785"/>
            <a:ext cx="756000" cy="756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55" name="Text Placeholder 13">
            <a:extLst>
              <a:ext uri="{FF2B5EF4-FFF2-40B4-BE49-F238E27FC236}">
                <a16:creationId xmlns:a16="http://schemas.microsoft.com/office/drawing/2014/main" id="{EA75573A-0F37-253D-5595-5E8F5F05469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55200" y="3548796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latin typeface="+mj-lt"/>
              </a:defRPr>
            </a:lvl1pPr>
          </a:lstStyle>
          <a:p>
            <a:pPr lvl="0"/>
            <a:r>
              <a:rPr lang="en-GB" dirty="0" err="1"/>
              <a:t>FirstnameLastname</a:t>
            </a:r>
            <a:endParaRPr lang="en-GB" dirty="0"/>
          </a:p>
        </p:txBody>
      </p:sp>
      <p:sp>
        <p:nvSpPr>
          <p:cNvPr id="56" name="Text Placeholder 13">
            <a:extLst>
              <a:ext uri="{FF2B5EF4-FFF2-40B4-BE49-F238E27FC236}">
                <a16:creationId xmlns:a16="http://schemas.microsoft.com/office/drawing/2014/main" id="{5803868B-4304-A43D-A305-199E2407586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55200" y="3789154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ompany Name</a:t>
            </a:r>
          </a:p>
        </p:txBody>
      </p:sp>
      <p:sp>
        <p:nvSpPr>
          <p:cNvPr id="57" name="Text Placeholder 13">
            <a:extLst>
              <a:ext uri="{FF2B5EF4-FFF2-40B4-BE49-F238E27FC236}">
                <a16:creationId xmlns:a16="http://schemas.microsoft.com/office/drawing/2014/main" id="{E9962D21-4880-92DF-54C6-FCAF3F2A625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55200" y="4052554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0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E-Mail Address</a:t>
            </a:r>
          </a:p>
        </p:txBody>
      </p:sp>
      <p:sp>
        <p:nvSpPr>
          <p:cNvPr id="58" name="Picture Placeholder 17">
            <a:extLst>
              <a:ext uri="{FF2B5EF4-FFF2-40B4-BE49-F238E27FC236}">
                <a16:creationId xmlns:a16="http://schemas.microsoft.com/office/drawing/2014/main" id="{7808946A-BEDB-7898-FDE2-5883AE83837C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4227661" y="3583721"/>
            <a:ext cx="756000" cy="756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59" name="Text Placeholder 13">
            <a:extLst>
              <a:ext uri="{FF2B5EF4-FFF2-40B4-BE49-F238E27FC236}">
                <a16:creationId xmlns:a16="http://schemas.microsoft.com/office/drawing/2014/main" id="{83393ECB-B82B-15EB-3283-055FD8DC1E4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5200" y="4928732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latin typeface="+mj-lt"/>
              </a:defRPr>
            </a:lvl1pPr>
          </a:lstStyle>
          <a:p>
            <a:pPr lvl="0"/>
            <a:r>
              <a:rPr lang="en-GB" dirty="0" err="1"/>
              <a:t>FirstnameLastname</a:t>
            </a:r>
            <a:endParaRPr lang="en-GB" dirty="0"/>
          </a:p>
        </p:txBody>
      </p:sp>
      <p:sp>
        <p:nvSpPr>
          <p:cNvPr id="60" name="Text Placeholder 13">
            <a:extLst>
              <a:ext uri="{FF2B5EF4-FFF2-40B4-BE49-F238E27FC236}">
                <a16:creationId xmlns:a16="http://schemas.microsoft.com/office/drawing/2014/main" id="{FA872C12-ACF4-48BB-C3CF-B14BFF0B34F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5200" y="5169090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ompany Name</a:t>
            </a:r>
          </a:p>
        </p:txBody>
      </p:sp>
      <p:sp>
        <p:nvSpPr>
          <p:cNvPr id="61" name="Text Placeholder 13">
            <a:extLst>
              <a:ext uri="{FF2B5EF4-FFF2-40B4-BE49-F238E27FC236}">
                <a16:creationId xmlns:a16="http://schemas.microsoft.com/office/drawing/2014/main" id="{69071BE4-DFD5-5258-B718-4C3070BCF5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55200" y="5432490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0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E-Mail Address</a:t>
            </a:r>
          </a:p>
        </p:txBody>
      </p:sp>
      <p:sp>
        <p:nvSpPr>
          <p:cNvPr id="62" name="Picture Placeholder 17">
            <a:extLst>
              <a:ext uri="{FF2B5EF4-FFF2-40B4-BE49-F238E27FC236}">
                <a16:creationId xmlns:a16="http://schemas.microsoft.com/office/drawing/2014/main" id="{B83F48EF-D433-6484-ED37-C99AD03558B1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4227661" y="4963657"/>
            <a:ext cx="756000" cy="756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3" name="Text Placeholder 13">
            <a:extLst>
              <a:ext uri="{FF2B5EF4-FFF2-40B4-BE49-F238E27FC236}">
                <a16:creationId xmlns:a16="http://schemas.microsoft.com/office/drawing/2014/main" id="{19DE6DF1-BB69-0A00-95CD-EBD5E50F88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63600" y="2168860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latin typeface="+mj-lt"/>
              </a:defRPr>
            </a:lvl1pPr>
          </a:lstStyle>
          <a:p>
            <a:pPr lvl="0"/>
            <a:r>
              <a:rPr lang="en-GB" dirty="0" err="1"/>
              <a:t>FirstnameLastname</a:t>
            </a:r>
            <a:endParaRPr lang="en-GB" dirty="0"/>
          </a:p>
        </p:txBody>
      </p:sp>
      <p:sp>
        <p:nvSpPr>
          <p:cNvPr id="64" name="Text Placeholder 13">
            <a:extLst>
              <a:ext uri="{FF2B5EF4-FFF2-40B4-BE49-F238E27FC236}">
                <a16:creationId xmlns:a16="http://schemas.microsoft.com/office/drawing/2014/main" id="{3F77E158-F0AD-CECE-10AD-5D531B031C0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63600" y="2409218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ompany Name</a:t>
            </a:r>
          </a:p>
        </p:txBody>
      </p:sp>
      <p:sp>
        <p:nvSpPr>
          <p:cNvPr id="65" name="Text Placeholder 13">
            <a:extLst>
              <a:ext uri="{FF2B5EF4-FFF2-40B4-BE49-F238E27FC236}">
                <a16:creationId xmlns:a16="http://schemas.microsoft.com/office/drawing/2014/main" id="{D21A3426-021F-B03E-4B71-5A7033802ED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63600" y="2672618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0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E-Mail Address</a:t>
            </a:r>
          </a:p>
        </p:txBody>
      </p:sp>
      <p:sp>
        <p:nvSpPr>
          <p:cNvPr id="66" name="Picture Placeholder 17">
            <a:extLst>
              <a:ext uri="{FF2B5EF4-FFF2-40B4-BE49-F238E27FC236}">
                <a16:creationId xmlns:a16="http://schemas.microsoft.com/office/drawing/2014/main" id="{3D3CD383-C16B-D684-C79D-152C36936F51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>
          <a:xfrm>
            <a:off x="7536160" y="2203785"/>
            <a:ext cx="756000" cy="756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67" name="Text Placeholder 13">
            <a:extLst>
              <a:ext uri="{FF2B5EF4-FFF2-40B4-BE49-F238E27FC236}">
                <a16:creationId xmlns:a16="http://schemas.microsoft.com/office/drawing/2014/main" id="{E046F753-D5E4-703D-BCA7-EB0C6382941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463600" y="3548796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latin typeface="+mj-lt"/>
              </a:defRPr>
            </a:lvl1pPr>
          </a:lstStyle>
          <a:p>
            <a:pPr lvl="0"/>
            <a:r>
              <a:rPr lang="en-GB" dirty="0" err="1"/>
              <a:t>FirstnameLastname</a:t>
            </a:r>
            <a:endParaRPr lang="en-GB" dirty="0"/>
          </a:p>
        </p:txBody>
      </p:sp>
      <p:sp>
        <p:nvSpPr>
          <p:cNvPr id="68" name="Text Placeholder 13">
            <a:extLst>
              <a:ext uri="{FF2B5EF4-FFF2-40B4-BE49-F238E27FC236}">
                <a16:creationId xmlns:a16="http://schemas.microsoft.com/office/drawing/2014/main" id="{C3870D22-9E0A-A47B-A430-D5CF1132036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463600" y="3789154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ompany Name</a:t>
            </a:r>
          </a:p>
        </p:txBody>
      </p:sp>
      <p:sp>
        <p:nvSpPr>
          <p:cNvPr id="69" name="Text Placeholder 13">
            <a:extLst>
              <a:ext uri="{FF2B5EF4-FFF2-40B4-BE49-F238E27FC236}">
                <a16:creationId xmlns:a16="http://schemas.microsoft.com/office/drawing/2014/main" id="{E6AED8D5-AD90-1C3A-338B-6ADC4F50358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63600" y="4052554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0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E-Mail Address</a:t>
            </a:r>
          </a:p>
        </p:txBody>
      </p:sp>
      <p:sp>
        <p:nvSpPr>
          <p:cNvPr id="70" name="Picture Placeholder 17">
            <a:extLst>
              <a:ext uri="{FF2B5EF4-FFF2-40B4-BE49-F238E27FC236}">
                <a16:creationId xmlns:a16="http://schemas.microsoft.com/office/drawing/2014/main" id="{F5AC24CC-9031-E77F-0C4D-F6059D2A2C66}"/>
              </a:ext>
            </a:extLst>
          </p:cNvPr>
          <p:cNvSpPr>
            <a:spLocks noGrp="1" noChangeAspect="1"/>
          </p:cNvSpPr>
          <p:nvPr>
            <p:ph type="pic" sz="quarter" idx="44"/>
          </p:nvPr>
        </p:nvSpPr>
        <p:spPr>
          <a:xfrm>
            <a:off x="7536160" y="3583721"/>
            <a:ext cx="756000" cy="756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71" name="Text Placeholder 13">
            <a:extLst>
              <a:ext uri="{FF2B5EF4-FFF2-40B4-BE49-F238E27FC236}">
                <a16:creationId xmlns:a16="http://schemas.microsoft.com/office/drawing/2014/main" id="{A0FEFC69-BA90-0573-882C-7215922D81F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463600" y="4928732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latin typeface="+mj-lt"/>
              </a:defRPr>
            </a:lvl1pPr>
          </a:lstStyle>
          <a:p>
            <a:pPr lvl="0"/>
            <a:r>
              <a:rPr lang="en-GB" dirty="0" err="1"/>
              <a:t>FirstnameLastname</a:t>
            </a:r>
            <a:endParaRPr lang="en-GB" dirty="0"/>
          </a:p>
        </p:txBody>
      </p:sp>
      <p:sp>
        <p:nvSpPr>
          <p:cNvPr id="72" name="Text Placeholder 13">
            <a:extLst>
              <a:ext uri="{FF2B5EF4-FFF2-40B4-BE49-F238E27FC236}">
                <a16:creationId xmlns:a16="http://schemas.microsoft.com/office/drawing/2014/main" id="{51DE5669-411A-2583-0B82-343A6C20570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63600" y="5169090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ompany Name</a:t>
            </a:r>
          </a:p>
        </p:txBody>
      </p:sp>
      <p:sp>
        <p:nvSpPr>
          <p:cNvPr id="73" name="Text Placeholder 13">
            <a:extLst>
              <a:ext uri="{FF2B5EF4-FFF2-40B4-BE49-F238E27FC236}">
                <a16:creationId xmlns:a16="http://schemas.microsoft.com/office/drawing/2014/main" id="{DA9722DF-DA17-C7D4-6756-242F11CC56B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463600" y="5432490"/>
            <a:ext cx="2232025" cy="287337"/>
          </a:xfrm>
        </p:spPr>
        <p:txBody>
          <a:bodyPr/>
          <a:lstStyle>
            <a:lvl1pPr>
              <a:lnSpc>
                <a:spcPct val="100000"/>
              </a:lnSpc>
              <a:defRPr sz="10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E-Mail Address</a:t>
            </a:r>
          </a:p>
        </p:txBody>
      </p:sp>
      <p:sp>
        <p:nvSpPr>
          <p:cNvPr id="74" name="Picture Placeholder 17">
            <a:extLst>
              <a:ext uri="{FF2B5EF4-FFF2-40B4-BE49-F238E27FC236}">
                <a16:creationId xmlns:a16="http://schemas.microsoft.com/office/drawing/2014/main" id="{098B9FE1-9265-B37D-6525-E2ECB0935DD8}"/>
              </a:ext>
            </a:extLst>
          </p:cNvPr>
          <p:cNvSpPr>
            <a:spLocks noGrp="1" noChangeAspect="1"/>
          </p:cNvSpPr>
          <p:nvPr>
            <p:ph type="pic" sz="quarter" idx="48"/>
          </p:nvPr>
        </p:nvSpPr>
        <p:spPr>
          <a:xfrm>
            <a:off x="7536160" y="4963657"/>
            <a:ext cx="756000" cy="756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1AD2D4-00EC-A6B4-4EFC-1548EC039B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2806678-CED0-2A48-821D-0006F84F34CF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31D20A-A480-BBD5-BC81-145484721F5E}"/>
              </a:ext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4222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97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D7F668-B817-5B3C-098E-FDB660969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C5644EE5-D6F9-76ED-AAA9-293B1150F9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5781" y="1548000"/>
            <a:ext cx="10512425" cy="284609"/>
          </a:xfrm>
        </p:spPr>
        <p:txBody>
          <a:bodyPr wrap="square" lIns="72000" tIns="36000" rIns="72000" bIns="36000">
            <a:noAutofit/>
          </a:bodyPr>
          <a:lstStyle>
            <a:lvl1pPr>
              <a:lnSpc>
                <a:spcPct val="100000"/>
              </a:lnSpc>
              <a:defRPr sz="14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9F6E63C0-0F5D-C4A1-7AB3-1361D95F678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1135" y="1857066"/>
            <a:ext cx="7208913" cy="4483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273B402-A188-8145-9F7F-899D4EE6AE3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29565" y="2349500"/>
            <a:ext cx="6991200" cy="39492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1AD2D4-00EC-A6B4-4EFC-1548EC039B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  <p:cxnSp>
        <p:nvCxnSpPr>
          <p:cNvPr id="7" name="Rote Linie">
            <a:extLst>
              <a:ext uri="{FF2B5EF4-FFF2-40B4-BE49-F238E27FC236}">
                <a16:creationId xmlns:a16="http://schemas.microsoft.com/office/drawing/2014/main" id="{429BDD8F-9E38-3AC0-39D0-3FE1C2DD378B}"/>
              </a:ext>
            </a:extLst>
          </p:cNvPr>
          <p:cNvCxnSpPr>
            <a:cxnSpLocks/>
          </p:cNvCxnSpPr>
          <p:nvPr userDrawn="1"/>
        </p:nvCxnSpPr>
        <p:spPr>
          <a:xfrm>
            <a:off x="720000" y="0"/>
            <a:ext cx="0" cy="172800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F224A-8432-3051-481E-151D8CA9047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FAD0FD2-5451-E7BF-CC10-6A45F52800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53002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A3D5D26-F035-9F43-4841-6B1D8E94E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6604"/>
            <a:ext cx="5186364" cy="86409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6F10C72-8076-57BC-BD15-D02F146D5B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5782" y="1548000"/>
            <a:ext cx="5186574" cy="284609"/>
          </a:xfrm>
        </p:spPr>
        <p:txBody>
          <a:bodyPr wrap="square" lIns="72000" tIns="36000" rIns="72000" bIns="36000">
            <a:noAutofit/>
          </a:bodyPr>
          <a:lstStyle>
            <a:lvl1pPr>
              <a:lnSpc>
                <a:spcPct val="100000"/>
              </a:lnSpc>
              <a:defRPr sz="14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10D7B2-9F80-2216-DCC3-CDDC6B3669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205037"/>
            <a:ext cx="4140000" cy="36004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050D59-99BC-A360-E07E-804BE7C108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  <p:cxnSp>
        <p:nvCxnSpPr>
          <p:cNvPr id="2" name="Rote Linie">
            <a:extLst>
              <a:ext uri="{FF2B5EF4-FFF2-40B4-BE49-F238E27FC236}">
                <a16:creationId xmlns:a16="http://schemas.microsoft.com/office/drawing/2014/main" id="{64D08503-40CE-4C27-3CA6-B2C2F2F679FD}"/>
              </a:ext>
            </a:extLst>
          </p:cNvPr>
          <p:cNvCxnSpPr>
            <a:cxnSpLocks/>
          </p:cNvCxnSpPr>
          <p:nvPr userDrawn="1"/>
        </p:nvCxnSpPr>
        <p:spPr>
          <a:xfrm>
            <a:off x="720000" y="0"/>
            <a:ext cx="0" cy="172800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6B1342-16D2-77DF-C9EE-9EB8FB4629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ACF6E24-46F6-8B3C-E634-2527FC2F1EB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69854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Frankf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Border">
            <a:extLst>
              <a:ext uri="{FF2B5EF4-FFF2-40B4-BE49-F238E27FC236}">
                <a16:creationId xmlns:a16="http://schemas.microsoft.com/office/drawing/2014/main" id="{4997A0E1-EE1F-0604-EE9B-908E302BEF1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263525 w 12192000"/>
              <a:gd name="connsiteY0" fmla="*/ 268787 h 6858000"/>
              <a:gd name="connsiteX1" fmla="*/ 263525 w 12192000"/>
              <a:gd name="connsiteY1" fmla="*/ 6594742 h 6858000"/>
              <a:gd name="connsiteX2" fmla="*/ 11928475 w 12192000"/>
              <a:gd name="connsiteY2" fmla="*/ 6594742 h 6858000"/>
              <a:gd name="connsiteX3" fmla="*/ 11928475 w 12192000"/>
              <a:gd name="connsiteY3" fmla="*/ 6277672 h 6858000"/>
              <a:gd name="connsiteX4" fmla="*/ 12191999 w 12192000"/>
              <a:gd name="connsiteY4" fmla="*/ 6277672 h 6858000"/>
              <a:gd name="connsiteX5" fmla="*/ 12191999 w 12192000"/>
              <a:gd name="connsiteY5" fmla="*/ 5971672 h 6858000"/>
              <a:gd name="connsiteX6" fmla="*/ 11928475 w 12192000"/>
              <a:gd name="connsiteY6" fmla="*/ 5971672 h 6858000"/>
              <a:gd name="connsiteX7" fmla="*/ 11928475 w 12192000"/>
              <a:gd name="connsiteY7" fmla="*/ 268787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63525" y="268787"/>
                </a:moveTo>
                <a:lnTo>
                  <a:pt x="263525" y="6594742"/>
                </a:lnTo>
                <a:lnTo>
                  <a:pt x="11928475" y="6594742"/>
                </a:lnTo>
                <a:lnTo>
                  <a:pt x="11928475" y="6277672"/>
                </a:lnTo>
                <a:lnTo>
                  <a:pt x="12191999" y="6277672"/>
                </a:lnTo>
                <a:lnTo>
                  <a:pt x="12191999" y="5971672"/>
                </a:lnTo>
                <a:lnTo>
                  <a:pt x="11928475" y="5971672"/>
                </a:lnTo>
                <a:lnTo>
                  <a:pt x="11928475" y="268787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20" name="Blaues Rechteck">
            <a:extLst>
              <a:ext uri="{FF2B5EF4-FFF2-40B4-BE49-F238E27FC236}">
                <a16:creationId xmlns:a16="http://schemas.microsoft.com/office/drawing/2014/main" id="{9AED974F-2352-712B-7F03-D48DEA338D29}"/>
              </a:ext>
            </a:extLst>
          </p:cNvPr>
          <p:cNvSpPr/>
          <p:nvPr userDrawn="1"/>
        </p:nvSpPr>
        <p:spPr>
          <a:xfrm>
            <a:off x="263525" y="260350"/>
            <a:ext cx="11664950" cy="174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Line-Placeholder red">
            <a:extLst>
              <a:ext uri="{FF2B5EF4-FFF2-40B4-BE49-F238E27FC236}">
                <a16:creationId xmlns:a16="http://schemas.microsoft.com/office/drawing/2014/main" id="{96C3A57C-0241-9578-EDB2-ED0F74AF4609}"/>
              </a:ext>
            </a:extLst>
          </p:cNvPr>
          <p:cNvSpPr>
            <a:spLocks noGrp="1" noChangeAspect="1"/>
          </p:cNvSpPr>
          <p:nvPr>
            <p:ph type="body" sz="quarter" idx="25" hasCustomPrompt="1"/>
          </p:nvPr>
        </p:nvSpPr>
        <p:spPr>
          <a:xfrm>
            <a:off x="709200" y="0"/>
            <a:ext cx="32400" cy="172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latin typeface="DIN Next LT Pro Condensed" panose="020B080602020305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33AAE919-C270-66D6-CD34-D407DB0A66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astertitel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52A1010D-3157-819F-01E2-6F4CF7F26B4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5782" y="1548000"/>
            <a:ext cx="5186574" cy="284609"/>
          </a:xfrm>
        </p:spPr>
        <p:txBody>
          <a:bodyPr wrap="square" lIns="72000" tIns="36000" rIns="72000" bIns="36000">
            <a:noAutofit/>
          </a:bodyPr>
          <a:lstStyle>
            <a:lvl1pPr>
              <a:lnSpc>
                <a:spcPct val="100000"/>
              </a:lnSpc>
              <a:defRPr sz="14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Adresse 1">
            <a:extLst>
              <a:ext uri="{FF2B5EF4-FFF2-40B4-BE49-F238E27FC236}">
                <a16:creationId xmlns:a16="http://schemas.microsoft.com/office/drawing/2014/main" id="{5C2CBC24-7F4A-310C-973C-5483A3CACB6B}"/>
              </a:ext>
            </a:extLst>
          </p:cNvPr>
          <p:cNvSpPr txBox="1"/>
          <p:nvPr userDrawn="1"/>
        </p:nvSpPr>
        <p:spPr>
          <a:xfrm>
            <a:off x="835782" y="2348765"/>
            <a:ext cx="2270988" cy="657479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1400" cap="all" baseline="0" noProof="1">
                <a:solidFill>
                  <a:schemeClr val="tx2"/>
                </a:solidFill>
                <a:latin typeface="+mj-lt"/>
              </a:rPr>
              <a:t>European Datawarehouse GmbH</a:t>
            </a:r>
          </a:p>
          <a:p>
            <a:pPr algn="l">
              <a:lnSpc>
                <a:spcPct val="100000"/>
              </a:lnSpc>
            </a:pPr>
            <a:r>
              <a:rPr lang="en-GB" sz="1200" cap="none" baseline="0" noProof="1">
                <a:solidFill>
                  <a:schemeClr val="tx2"/>
                </a:solidFill>
                <a:latin typeface="+mn-lt"/>
              </a:rPr>
              <a:t>Walther-von-Cronberg-Platz 2</a:t>
            </a:r>
          </a:p>
          <a:p>
            <a:pPr algn="l">
              <a:lnSpc>
                <a:spcPct val="100000"/>
              </a:lnSpc>
            </a:pPr>
            <a:r>
              <a:rPr lang="en-GB" sz="1200" cap="none" baseline="0" noProof="1">
                <a:solidFill>
                  <a:schemeClr val="tx2"/>
                </a:solidFill>
                <a:latin typeface="+mn-lt"/>
              </a:rPr>
              <a:t>60594 Frankfurt am Main</a:t>
            </a:r>
          </a:p>
        </p:txBody>
      </p:sp>
      <p:sp>
        <p:nvSpPr>
          <p:cNvPr id="29" name="Adresse 2">
            <a:extLst>
              <a:ext uri="{FF2B5EF4-FFF2-40B4-BE49-F238E27FC236}">
                <a16:creationId xmlns:a16="http://schemas.microsoft.com/office/drawing/2014/main" id="{7EB5DEE0-978F-9634-1A17-1874450C8238}"/>
              </a:ext>
            </a:extLst>
          </p:cNvPr>
          <p:cNvSpPr txBox="1"/>
          <p:nvPr userDrawn="1"/>
        </p:nvSpPr>
        <p:spPr>
          <a:xfrm>
            <a:off x="835782" y="3137020"/>
            <a:ext cx="1727571" cy="626701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1200" cap="none" baseline="0" noProof="1">
                <a:solidFill>
                  <a:schemeClr val="tx2"/>
                </a:solidFill>
                <a:latin typeface="+mn-lt"/>
              </a:rPr>
              <a:t>www.eurodw.eu</a:t>
            </a:r>
          </a:p>
          <a:p>
            <a:pPr algn="l">
              <a:lnSpc>
                <a:spcPct val="100000"/>
              </a:lnSpc>
            </a:pPr>
            <a:r>
              <a:rPr lang="en-GB" sz="1200" cap="none" baseline="0" noProof="1">
                <a:solidFill>
                  <a:schemeClr val="tx2"/>
                </a:solidFill>
                <a:latin typeface="+mn-lt"/>
              </a:rPr>
              <a:t>+49 (0)69 50986 9017</a:t>
            </a:r>
          </a:p>
          <a:p>
            <a:pPr algn="l">
              <a:lnSpc>
                <a:spcPct val="100000"/>
              </a:lnSpc>
            </a:pPr>
            <a:r>
              <a:rPr lang="en-GB" sz="1200" cap="none" baseline="0" noProof="1">
                <a:solidFill>
                  <a:schemeClr val="tx2"/>
                </a:solidFill>
                <a:latin typeface="+mn-lt"/>
              </a:rPr>
              <a:t>enquiries@eurodw.eu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F1AF59B-DD03-6BDD-E839-54949DC83C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51883" y="2349286"/>
            <a:ext cx="2880000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latin typeface="+mj-lt"/>
              </a:defRPr>
            </a:lvl1pPr>
          </a:lstStyle>
          <a:p>
            <a:pPr lvl="0"/>
            <a:r>
              <a:rPr lang="en-GB" dirty="0" err="1"/>
              <a:t>Firstname</a:t>
            </a:r>
            <a:r>
              <a:rPr lang="en-GB" dirty="0"/>
              <a:t> </a:t>
            </a:r>
            <a:r>
              <a:rPr lang="en-GB" dirty="0" err="1"/>
              <a:t>Lastname</a:t>
            </a:r>
            <a:endParaRPr lang="en-GB" dirty="0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A1280276-6A33-0DA8-35DE-77EB595D05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1883" y="2528900"/>
            <a:ext cx="2880000" cy="216000"/>
          </a:xfrm>
        </p:spPr>
        <p:txBody>
          <a:bodyPr/>
          <a:lstStyle>
            <a:lvl1pPr>
              <a:lnSpc>
                <a:spcPct val="100000"/>
              </a:lnSpc>
              <a:defRPr sz="12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Phone Number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2171A585-83FC-AB20-DCBF-C42FD71BA9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51883" y="2746800"/>
            <a:ext cx="2880000" cy="216000"/>
          </a:xfrm>
        </p:spPr>
        <p:txBody>
          <a:bodyPr/>
          <a:lstStyle>
            <a:lvl1pPr>
              <a:lnSpc>
                <a:spcPct val="100000"/>
              </a:lnSpc>
              <a:defRPr sz="12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E-Mail Address</a:t>
            </a:r>
          </a:p>
        </p:txBody>
      </p:sp>
      <p:sp>
        <p:nvSpPr>
          <p:cNvPr id="22" name="Picture Placeholder 17">
            <a:extLst>
              <a:ext uri="{FF2B5EF4-FFF2-40B4-BE49-F238E27FC236}">
                <a16:creationId xmlns:a16="http://schemas.microsoft.com/office/drawing/2014/main" id="{12B8002F-6891-78FA-5C95-6D7AAFFCA1C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159709" y="2384211"/>
            <a:ext cx="756000" cy="756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D9AB954D-2C94-6530-447D-7C7D550178B0}"/>
              </a:ext>
            </a:extLst>
          </p:cNvPr>
          <p:cNvSpPr txBox="1"/>
          <p:nvPr userDrawn="1"/>
        </p:nvSpPr>
        <p:spPr>
          <a:xfrm>
            <a:off x="827108" y="4509120"/>
            <a:ext cx="10523092" cy="1303809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i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esentatio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(th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“Presentation”)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ha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bee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epared</a:t>
            </a:r>
            <a:r>
              <a:rPr lang="en-GB" sz="800" spc="7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by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Europea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DataWarehous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GmbH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(th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“Company”)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</a:t>
            </a:r>
            <a:r>
              <a:rPr lang="en-GB" sz="800" spc="7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being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mad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vailabl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o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formation</a:t>
            </a:r>
            <a:r>
              <a:rPr lang="en-GB" sz="800" spc="7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urpose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nly.</a:t>
            </a:r>
            <a:r>
              <a:rPr lang="en-GB" sz="800" spc="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esentatio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trictly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nfidential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y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disclosure,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use,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pying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irculatio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f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i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esentatio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ohibited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without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nsent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rom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mpany.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formation</a:t>
            </a:r>
            <a:r>
              <a:rPr lang="en-GB" sz="800" spc="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is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esentation, including forecast financial information, should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not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be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nsidered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s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dvice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 </a:t>
            </a:r>
            <a:r>
              <a:rPr lang="en-GB" sz="80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recommendation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o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vestors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otential investors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relation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o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holding, 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urchasing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elling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ecuritie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the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inancial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oduct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strument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doe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not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ak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to</a:t>
            </a:r>
            <a:r>
              <a:rPr lang="en-GB" sz="800" spc="7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ccount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you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articula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vestment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bjectives,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inancial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ituatio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needs.</a:t>
            </a:r>
            <a:r>
              <a:rPr lang="en-GB" sz="800" spc="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No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representation,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warranty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undertaking,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expres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mplied,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mad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o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ccuracy,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mpletenes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ppropriatenes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f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formatio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pinion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ntained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</a:t>
            </a:r>
            <a:r>
              <a:rPr lang="en-GB" sz="800" spc="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is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esentation.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Under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no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ircumstances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hall the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mpany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have any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liability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or any loss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damage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at may arise from the use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f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is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esentation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formation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pinion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ntained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herein.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ertai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f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formatio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ntained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herei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may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clud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orward-looking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tatement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relating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o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business,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inancial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erformanc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result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f</a:t>
            </a:r>
            <a:r>
              <a:rPr lang="en-GB" sz="800" spc="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mpany and/or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dustry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which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t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perates. Forward-looking statements concern future circumstances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results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 other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tatements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at are not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historical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acts, 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ometimes identified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by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 words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“believes”, “expects”, “predicts”, “intends”, “projects”, “plans”, “estimates”, “aims”, “foresees”, “anticipates”, “targets”, “may”, “will”, “should”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 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imilar expression.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orward-looking looking statements, contained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is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esentation, including assumptions, opinions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 views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f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mpany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ited from third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arty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ources</a:t>
            </a:r>
            <a:r>
              <a:rPr lang="en-GB" sz="800" spc="6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re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olely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pinions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orecasts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which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re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uncertain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ubject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o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risks.</a:t>
            </a:r>
            <a:endParaRPr lang="en-GB" sz="800" noProof="1">
              <a:solidFill>
                <a:schemeClr val="tx1">
                  <a:alpha val="80000"/>
                </a:schemeClr>
              </a:solidFill>
              <a:latin typeface="Open Sans"/>
              <a:cs typeface="Open San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44ED87-6623-EA44-ED8F-AD0B06E0B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Confidentia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637581-3A48-C208-282A-894621EC69F7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A9BE7D-B69F-8D6E-B414-0015F0A3BBC5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9636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Lond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Border">
            <a:extLst>
              <a:ext uri="{FF2B5EF4-FFF2-40B4-BE49-F238E27FC236}">
                <a16:creationId xmlns:a16="http://schemas.microsoft.com/office/drawing/2014/main" id="{7635B4DA-9355-B3E9-414B-E78A7FB43FC6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263525 w 12192000"/>
              <a:gd name="connsiteY0" fmla="*/ 268787 h 6858000"/>
              <a:gd name="connsiteX1" fmla="*/ 263525 w 12192000"/>
              <a:gd name="connsiteY1" fmla="*/ 6594742 h 6858000"/>
              <a:gd name="connsiteX2" fmla="*/ 11928475 w 12192000"/>
              <a:gd name="connsiteY2" fmla="*/ 6594742 h 6858000"/>
              <a:gd name="connsiteX3" fmla="*/ 11928475 w 12192000"/>
              <a:gd name="connsiteY3" fmla="*/ 6277672 h 6858000"/>
              <a:gd name="connsiteX4" fmla="*/ 12191999 w 12192000"/>
              <a:gd name="connsiteY4" fmla="*/ 6277672 h 6858000"/>
              <a:gd name="connsiteX5" fmla="*/ 12191999 w 12192000"/>
              <a:gd name="connsiteY5" fmla="*/ 5971672 h 6858000"/>
              <a:gd name="connsiteX6" fmla="*/ 11928475 w 12192000"/>
              <a:gd name="connsiteY6" fmla="*/ 5971672 h 6858000"/>
              <a:gd name="connsiteX7" fmla="*/ 11928475 w 12192000"/>
              <a:gd name="connsiteY7" fmla="*/ 268787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63525" y="268787"/>
                </a:moveTo>
                <a:lnTo>
                  <a:pt x="263525" y="6594742"/>
                </a:lnTo>
                <a:lnTo>
                  <a:pt x="11928475" y="6594742"/>
                </a:lnTo>
                <a:lnTo>
                  <a:pt x="11928475" y="6277672"/>
                </a:lnTo>
                <a:lnTo>
                  <a:pt x="12191999" y="6277672"/>
                </a:lnTo>
                <a:lnTo>
                  <a:pt x="12191999" y="5971672"/>
                </a:lnTo>
                <a:lnTo>
                  <a:pt x="11928475" y="5971672"/>
                </a:lnTo>
                <a:lnTo>
                  <a:pt x="11928475" y="268787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20" name="Blaues Rechteck">
            <a:extLst>
              <a:ext uri="{FF2B5EF4-FFF2-40B4-BE49-F238E27FC236}">
                <a16:creationId xmlns:a16="http://schemas.microsoft.com/office/drawing/2014/main" id="{9AED974F-2352-712B-7F03-D48DEA338D29}"/>
              </a:ext>
            </a:extLst>
          </p:cNvPr>
          <p:cNvSpPr/>
          <p:nvPr userDrawn="1"/>
        </p:nvSpPr>
        <p:spPr>
          <a:xfrm>
            <a:off x="263525" y="260350"/>
            <a:ext cx="11664950" cy="174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Line-Placeholder red">
            <a:extLst>
              <a:ext uri="{FF2B5EF4-FFF2-40B4-BE49-F238E27FC236}">
                <a16:creationId xmlns:a16="http://schemas.microsoft.com/office/drawing/2014/main" id="{96C3A57C-0241-9578-EDB2-ED0F74AF4609}"/>
              </a:ext>
            </a:extLst>
          </p:cNvPr>
          <p:cNvSpPr>
            <a:spLocks noGrp="1" noChangeAspect="1"/>
          </p:cNvSpPr>
          <p:nvPr>
            <p:ph type="body" sz="quarter" idx="25" hasCustomPrompt="1"/>
          </p:nvPr>
        </p:nvSpPr>
        <p:spPr>
          <a:xfrm>
            <a:off x="709200" y="0"/>
            <a:ext cx="32400" cy="172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latin typeface="DIN Next LT Pro Condensed" panose="020B080602020305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33AAE919-C270-66D6-CD34-D407DB0A66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astertitel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52A1010D-3157-819F-01E2-6F4CF7F26B4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5782" y="1548000"/>
            <a:ext cx="5186574" cy="284609"/>
          </a:xfrm>
        </p:spPr>
        <p:txBody>
          <a:bodyPr wrap="square" lIns="72000" tIns="36000" rIns="72000" bIns="36000">
            <a:noAutofit/>
          </a:bodyPr>
          <a:lstStyle>
            <a:lvl1pPr>
              <a:lnSpc>
                <a:spcPct val="100000"/>
              </a:lnSpc>
              <a:defRPr sz="14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Adresse 1">
            <a:extLst>
              <a:ext uri="{FF2B5EF4-FFF2-40B4-BE49-F238E27FC236}">
                <a16:creationId xmlns:a16="http://schemas.microsoft.com/office/drawing/2014/main" id="{5C2CBC24-7F4A-310C-973C-5483A3CACB6B}"/>
              </a:ext>
            </a:extLst>
          </p:cNvPr>
          <p:cNvSpPr txBox="1"/>
          <p:nvPr userDrawn="1"/>
        </p:nvSpPr>
        <p:spPr>
          <a:xfrm>
            <a:off x="835782" y="2348765"/>
            <a:ext cx="2388008" cy="657479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1400" cap="all" baseline="0" noProof="1">
                <a:solidFill>
                  <a:schemeClr val="tx2"/>
                </a:solidFill>
                <a:latin typeface="+mj-lt"/>
              </a:rPr>
              <a:t>European Datawarehouse GmbH</a:t>
            </a:r>
          </a:p>
          <a:p>
            <a:pPr algn="l">
              <a:lnSpc>
                <a:spcPct val="100000"/>
              </a:lnSpc>
            </a:pPr>
            <a:r>
              <a:rPr lang="en-GB" sz="1200" cap="none" baseline="0" noProof="1">
                <a:solidFill>
                  <a:schemeClr val="tx2"/>
                </a:solidFill>
                <a:latin typeface="+mn-lt"/>
              </a:rPr>
              <a:t>One Canada Square, 37th Floor</a:t>
            </a:r>
          </a:p>
          <a:p>
            <a:pPr algn="l">
              <a:lnSpc>
                <a:spcPct val="100000"/>
              </a:lnSpc>
            </a:pPr>
            <a:r>
              <a:rPr lang="en-GB" sz="1200" cap="none" baseline="0" noProof="1">
                <a:solidFill>
                  <a:schemeClr val="tx2"/>
                </a:solidFill>
                <a:latin typeface="+mn-lt"/>
              </a:rPr>
              <a:t>London E145AA</a:t>
            </a:r>
          </a:p>
        </p:txBody>
      </p:sp>
      <p:sp>
        <p:nvSpPr>
          <p:cNvPr id="29" name="Adresse 2">
            <a:extLst>
              <a:ext uri="{FF2B5EF4-FFF2-40B4-BE49-F238E27FC236}">
                <a16:creationId xmlns:a16="http://schemas.microsoft.com/office/drawing/2014/main" id="{7EB5DEE0-978F-9634-1A17-1874450C8238}"/>
              </a:ext>
            </a:extLst>
          </p:cNvPr>
          <p:cNvSpPr txBox="1"/>
          <p:nvPr userDrawn="1"/>
        </p:nvSpPr>
        <p:spPr>
          <a:xfrm>
            <a:off x="835782" y="3137020"/>
            <a:ext cx="1929549" cy="626701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1200" cap="none" baseline="0" noProof="1">
                <a:solidFill>
                  <a:schemeClr val="tx2"/>
                </a:solidFill>
                <a:latin typeface="+mn-lt"/>
              </a:rPr>
              <a:t>www.eurodw.co.uk</a:t>
            </a:r>
          </a:p>
          <a:p>
            <a:pPr algn="l">
              <a:lnSpc>
                <a:spcPct val="100000"/>
              </a:lnSpc>
            </a:pPr>
            <a:r>
              <a:rPr lang="en-GB" sz="1200" cap="none" baseline="0" noProof="1">
                <a:solidFill>
                  <a:schemeClr val="tx2"/>
                </a:solidFill>
                <a:latin typeface="+mn-lt"/>
              </a:rPr>
              <a:t>+44 (0) 20 2997 6861</a:t>
            </a:r>
          </a:p>
          <a:p>
            <a:pPr algn="l">
              <a:lnSpc>
                <a:spcPct val="100000"/>
              </a:lnSpc>
            </a:pPr>
            <a:r>
              <a:rPr lang="en-GB" sz="1200" cap="none" baseline="0" noProof="1">
                <a:solidFill>
                  <a:schemeClr val="tx2"/>
                </a:solidFill>
                <a:latin typeface="+mn-lt"/>
              </a:rPr>
              <a:t>enquiries@eurodw.co.uk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F1AF59B-DD03-6BDD-E839-54949DC83C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51883" y="2349286"/>
            <a:ext cx="2880000" cy="287337"/>
          </a:xfrm>
        </p:spPr>
        <p:txBody>
          <a:bodyPr/>
          <a:lstStyle>
            <a:lvl1pPr>
              <a:lnSpc>
                <a:spcPct val="100000"/>
              </a:lnSpc>
              <a:defRPr sz="1400" cap="all" baseline="0">
                <a:latin typeface="+mj-lt"/>
              </a:defRPr>
            </a:lvl1pPr>
          </a:lstStyle>
          <a:p>
            <a:pPr lvl="0"/>
            <a:r>
              <a:rPr lang="en-GB" dirty="0" err="1"/>
              <a:t>Firstname</a:t>
            </a:r>
            <a:r>
              <a:rPr lang="en-GB" dirty="0"/>
              <a:t> </a:t>
            </a:r>
            <a:r>
              <a:rPr lang="en-GB" dirty="0" err="1"/>
              <a:t>Lastname</a:t>
            </a:r>
            <a:endParaRPr lang="en-GB" dirty="0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A1280276-6A33-0DA8-35DE-77EB595D05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1883" y="2528900"/>
            <a:ext cx="2880000" cy="216000"/>
          </a:xfrm>
        </p:spPr>
        <p:txBody>
          <a:bodyPr/>
          <a:lstStyle>
            <a:lvl1pPr>
              <a:lnSpc>
                <a:spcPct val="100000"/>
              </a:lnSpc>
              <a:defRPr sz="12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Phone Number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2171A585-83FC-AB20-DCBF-C42FD71BA9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51883" y="2746800"/>
            <a:ext cx="2880000" cy="216000"/>
          </a:xfrm>
        </p:spPr>
        <p:txBody>
          <a:bodyPr/>
          <a:lstStyle>
            <a:lvl1pPr>
              <a:lnSpc>
                <a:spcPct val="100000"/>
              </a:lnSpc>
              <a:defRPr sz="12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E-Mail Address</a:t>
            </a:r>
          </a:p>
        </p:txBody>
      </p:sp>
      <p:sp>
        <p:nvSpPr>
          <p:cNvPr id="22" name="Picture Placeholder 17">
            <a:extLst>
              <a:ext uri="{FF2B5EF4-FFF2-40B4-BE49-F238E27FC236}">
                <a16:creationId xmlns:a16="http://schemas.microsoft.com/office/drawing/2014/main" id="{12B8002F-6891-78FA-5C95-6D7AAFFCA1C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159709" y="2384211"/>
            <a:ext cx="756000" cy="756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D9AB954D-2C94-6530-447D-7C7D550178B0}"/>
              </a:ext>
            </a:extLst>
          </p:cNvPr>
          <p:cNvSpPr txBox="1"/>
          <p:nvPr userDrawn="1"/>
        </p:nvSpPr>
        <p:spPr>
          <a:xfrm>
            <a:off x="827108" y="4509120"/>
            <a:ext cx="10523092" cy="1303809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i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esentatio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(th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“Presentation”)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ha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bee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epared</a:t>
            </a:r>
            <a:r>
              <a:rPr lang="en-GB" sz="800" spc="7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by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Europea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DataWarehous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GmbH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(th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“Company”)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</a:t>
            </a:r>
            <a:r>
              <a:rPr lang="en-GB" sz="800" spc="7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being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mad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vailabl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o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formation</a:t>
            </a:r>
            <a:r>
              <a:rPr lang="en-GB" sz="800" spc="7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urpose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nly.</a:t>
            </a:r>
            <a:r>
              <a:rPr lang="en-GB" sz="800" spc="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esentatio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trictly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nfidential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y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disclosure,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use,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pying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irculatio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f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i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esentatio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ohibited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without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nsent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rom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mpany.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formation</a:t>
            </a:r>
            <a:r>
              <a:rPr lang="en-GB" sz="800" spc="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is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esentation, including forecast financial information, should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not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be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nsidered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s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dvice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 </a:t>
            </a:r>
            <a:r>
              <a:rPr lang="en-GB" sz="80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recommendation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o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vestors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otential investors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relation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o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holding, 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urchasing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elling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ecuritie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the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inancial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oduct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strument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doe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not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ak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to</a:t>
            </a:r>
            <a:r>
              <a:rPr lang="en-GB" sz="800" spc="7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ccount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you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articula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vestment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bjectives,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inancial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ituatio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needs.</a:t>
            </a:r>
            <a:r>
              <a:rPr lang="en-GB" sz="800" spc="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No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representation,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warranty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undertaking,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expres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mplied,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mad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o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ccuracy,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mpletenes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ppropriatenes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f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formatio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pinion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ntained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</a:t>
            </a:r>
            <a:r>
              <a:rPr lang="en-GB" sz="800" spc="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is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esentation.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Under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no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ircumstances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hall the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mpany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have any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liability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or any loss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damage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at may arise from the use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f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is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esentation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formation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pinion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ntained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herein.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ertai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f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formatio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ntained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herein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may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clud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orward-looking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tatement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relating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o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business,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inancial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erformance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results</a:t>
            </a:r>
            <a:r>
              <a:rPr lang="en-GB" sz="800" spc="7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f</a:t>
            </a:r>
            <a:r>
              <a:rPr lang="en-GB" sz="800" spc="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mpany and/or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dustry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which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t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perates. Forward-looking statements concern future circumstances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results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 other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tatements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at are not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historical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acts, 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ometimes identified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by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 words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“believes”, “expects”, “predicts”, “intends”, “projects”, “plans”, “estimates”, “aims”, “foresees”, “anticipates”, “targets”, “may”, “will”, “should”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 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imilar expression.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orward-looking looking statements, contained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in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is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resentation, including assumptions, opinions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 views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f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he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ompany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r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cited from third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party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ources</a:t>
            </a:r>
            <a:r>
              <a:rPr lang="en-GB" sz="800" spc="60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re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olely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opinions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forecasts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which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re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uncertain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and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27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subject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16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to</a:t>
            </a:r>
            <a:r>
              <a:rPr lang="en-GB" sz="800" spc="65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 </a:t>
            </a:r>
            <a:r>
              <a:rPr lang="en-GB" sz="800" spc="32" noProof="1">
                <a:solidFill>
                  <a:schemeClr val="tx1">
                    <a:alpha val="80000"/>
                  </a:schemeClr>
                </a:solidFill>
                <a:latin typeface="Open Sans"/>
                <a:cs typeface="Open Sans"/>
              </a:rPr>
              <a:t>risks.</a:t>
            </a:r>
            <a:endParaRPr lang="en-GB" sz="800" noProof="1">
              <a:solidFill>
                <a:schemeClr val="tx1">
                  <a:alpha val="80000"/>
                </a:schemeClr>
              </a:solidFill>
              <a:latin typeface="Open Sans"/>
              <a:cs typeface="Open San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44ED87-6623-EA44-ED8F-AD0B06E0B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Confidentia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DA071B-0626-7746-1418-72613ECC855D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FD02DA-02F4-7188-872F-74BC172E1ED3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6883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Border">
            <a:extLst>
              <a:ext uri="{FF2B5EF4-FFF2-40B4-BE49-F238E27FC236}">
                <a16:creationId xmlns:a16="http://schemas.microsoft.com/office/drawing/2014/main" id="{3CFE204C-7CFD-5DD5-CAFD-FE4CBE9498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263525 w 12192000"/>
              <a:gd name="connsiteY0" fmla="*/ 268787 h 6858000"/>
              <a:gd name="connsiteX1" fmla="*/ 263525 w 12192000"/>
              <a:gd name="connsiteY1" fmla="*/ 6594742 h 6858000"/>
              <a:gd name="connsiteX2" fmla="*/ 11928475 w 12192000"/>
              <a:gd name="connsiteY2" fmla="*/ 6594742 h 6858000"/>
              <a:gd name="connsiteX3" fmla="*/ 11928475 w 12192000"/>
              <a:gd name="connsiteY3" fmla="*/ 268787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263525" y="268787"/>
                </a:moveTo>
                <a:lnTo>
                  <a:pt x="263525" y="6594742"/>
                </a:lnTo>
                <a:lnTo>
                  <a:pt x="11928475" y="6594742"/>
                </a:lnTo>
                <a:lnTo>
                  <a:pt x="11928475" y="268787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6" name="Line-Placeholder red">
            <a:extLst>
              <a:ext uri="{FF2B5EF4-FFF2-40B4-BE49-F238E27FC236}">
                <a16:creationId xmlns:a16="http://schemas.microsoft.com/office/drawing/2014/main" id="{6E0B2761-D8F1-C9FB-75EF-C84FB793A758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 rot="5400000">
            <a:off x="6505800" y="-1679301"/>
            <a:ext cx="32400" cy="11340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latin typeface="DIN Next LT Pro Condensed" panose="020B080602020305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0D7E59-88DF-C949-7839-DD2910595A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415" y="2565000"/>
            <a:ext cx="10657259" cy="864000"/>
          </a:xfrm>
        </p:spPr>
        <p:txBody>
          <a:bodyPr anchor="b" anchorCtr="0"/>
          <a:lstStyle>
            <a:lvl1pPr algn="l">
              <a:lnSpc>
                <a:spcPts val="4400"/>
              </a:lnSpc>
              <a:defRPr sz="48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11FE9DA-4464-4C4C-B73E-5CF8B698C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415" y="3284984"/>
            <a:ext cx="10657260" cy="5040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3600" cap="all" baseline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57F738-C6B6-A999-18CA-28ABF864E2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5864" y="3861337"/>
            <a:ext cx="1371704" cy="215444"/>
          </a:xfrm>
          <a:solidFill>
            <a:schemeClr val="bg1"/>
          </a:solidFill>
        </p:spPr>
        <p:txBody>
          <a:bodyPr wrap="square" lIns="72000" rIns="72000">
            <a:spAutoFit/>
          </a:bodyPr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DECEMBER 2025</a:t>
            </a:r>
            <a:endParaRPr lang="en-GB" dirty="0"/>
          </a:p>
        </p:txBody>
      </p:sp>
      <p:pic>
        <p:nvPicPr>
          <p:cNvPr id="22" name="EDW-Logo bl">
            <a:extLst>
              <a:ext uri="{FF2B5EF4-FFF2-40B4-BE49-F238E27FC236}">
                <a16:creationId xmlns:a16="http://schemas.microsoft.com/office/drawing/2014/main" id="{BC6DDCFB-9236-4927-A634-97367959E4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81196" y="756000"/>
            <a:ext cx="1566000" cy="530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2209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ith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">
            <a:extLst>
              <a:ext uri="{FF2B5EF4-FFF2-40B4-BE49-F238E27FC236}">
                <a16:creationId xmlns:a16="http://schemas.microsoft.com/office/drawing/2014/main" id="{B668E192-BC8B-3AA0-55D2-D5D5C525F4A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63525" y="260350"/>
            <a:ext cx="11664950" cy="6337002"/>
          </a:xfrm>
          <a:solidFill>
            <a:schemeClr val="bg1">
              <a:lumMod val="75000"/>
            </a:schemeClr>
          </a:solidFill>
          <a:effectLst>
            <a:outerShdw blurRad="76200" dist="76200" dir="2700000" algn="tl" rotWithShape="0">
              <a:prstClr val="black">
                <a:alpha val="60000"/>
              </a:prstClr>
            </a:outerShdw>
          </a:effectLst>
        </p:spPr>
        <p:txBody>
          <a:bodyPr/>
          <a:lstStyle>
            <a:lvl1pPr algn="ctr"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D90E71-76FD-3634-1548-7BD982449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0" y="1772816"/>
            <a:ext cx="10508649" cy="1656184"/>
          </a:xfrm>
        </p:spPr>
        <p:txBody>
          <a:bodyPr anchor="t"/>
          <a:lstStyle>
            <a:lvl1pPr>
              <a:defRPr sz="15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End Slide</a:t>
            </a:r>
          </a:p>
        </p:txBody>
      </p:sp>
      <p:sp>
        <p:nvSpPr>
          <p:cNvPr id="3" name="Line-Placeholder red">
            <a:extLst>
              <a:ext uri="{FF2B5EF4-FFF2-40B4-BE49-F238E27FC236}">
                <a16:creationId xmlns:a16="http://schemas.microsoft.com/office/drawing/2014/main" id="{9719B749-DFE5-C817-EE72-30E30030E138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709200" y="0"/>
            <a:ext cx="32400" cy="3420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latin typeface="DIN Next LT Pro Condensed" panose="020B080602020305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6932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ith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">
            <a:extLst>
              <a:ext uri="{FF2B5EF4-FFF2-40B4-BE49-F238E27FC236}">
                <a16:creationId xmlns:a16="http://schemas.microsoft.com/office/drawing/2014/main" id="{B668E192-BC8B-3AA0-55D2-D5D5C525F4A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63525" y="260350"/>
            <a:ext cx="11664950" cy="6337002"/>
          </a:xfrm>
          <a:solidFill>
            <a:schemeClr val="bg1">
              <a:lumMod val="75000"/>
            </a:schemeClr>
          </a:solidFill>
          <a:effectLst>
            <a:outerShdw blurRad="76200" dist="76200" dir="2700000" algn="tl" rotWithShape="0">
              <a:prstClr val="black">
                <a:alpha val="60000"/>
              </a:prstClr>
            </a:outerShdw>
          </a:effectLst>
        </p:spPr>
        <p:txBody>
          <a:bodyPr/>
          <a:lstStyle>
            <a:lvl1pPr algn="ctr"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D90E71-76FD-3634-1548-7BD982449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2744924"/>
            <a:ext cx="10508033" cy="1656184"/>
          </a:xfrm>
        </p:spPr>
        <p:txBody>
          <a:bodyPr bIns="36000" anchor="ctr"/>
          <a:lstStyle>
            <a:lvl1pPr algn="ctr">
              <a:defRPr sz="96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End Slide</a:t>
            </a:r>
          </a:p>
        </p:txBody>
      </p:sp>
    </p:spTree>
    <p:extLst>
      <p:ext uri="{BB962C8B-B14F-4D97-AF65-F5344CB8AC3E}">
        <p14:creationId xmlns:p14="http://schemas.microsoft.com/office/powerpoint/2010/main" val="16899315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 with Speak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8F805729-E21C-AA2D-D44B-0DCBB4F765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972400 h 6858000"/>
              <a:gd name="connsiteX3" fmla="*/ 11928475 w 12192000"/>
              <a:gd name="connsiteY3" fmla="*/ 5972400 h 6858000"/>
              <a:gd name="connsiteX4" fmla="*/ 11928475 w 12192000"/>
              <a:gd name="connsiteY4" fmla="*/ 260350 h 6858000"/>
              <a:gd name="connsiteX5" fmla="*/ 263525 w 12192000"/>
              <a:gd name="connsiteY5" fmla="*/ 260350 h 6858000"/>
              <a:gd name="connsiteX6" fmla="*/ 263525 w 12192000"/>
              <a:gd name="connsiteY6" fmla="*/ 6594742 h 6858000"/>
              <a:gd name="connsiteX7" fmla="*/ 11928475 w 12192000"/>
              <a:gd name="connsiteY7" fmla="*/ 6594742 h 6858000"/>
              <a:gd name="connsiteX8" fmla="*/ 11928475 w 12192000"/>
              <a:gd name="connsiteY8" fmla="*/ 6278400 h 6858000"/>
              <a:gd name="connsiteX9" fmla="*/ 12192000 w 12192000"/>
              <a:gd name="connsiteY9" fmla="*/ 627840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972400"/>
                </a:lnTo>
                <a:lnTo>
                  <a:pt x="11928475" y="5972400"/>
                </a:lnTo>
                <a:lnTo>
                  <a:pt x="11928475" y="260350"/>
                </a:lnTo>
                <a:lnTo>
                  <a:pt x="263525" y="260350"/>
                </a:lnTo>
                <a:lnTo>
                  <a:pt x="263525" y="6594742"/>
                </a:lnTo>
                <a:lnTo>
                  <a:pt x="11928475" y="6594742"/>
                </a:lnTo>
                <a:lnTo>
                  <a:pt x="11928475" y="6278400"/>
                </a:lnTo>
                <a:lnTo>
                  <a:pt x="12192000" y="627840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>
            <a:lvl1pPr algn="ctr"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5" name="Rote Linie">
            <a:extLst>
              <a:ext uri="{FF2B5EF4-FFF2-40B4-BE49-F238E27FC236}">
                <a16:creationId xmlns:a16="http://schemas.microsoft.com/office/drawing/2014/main" id="{E899937A-B8B6-ADDF-9D7B-C04F55E334FC}"/>
              </a:ext>
            </a:extLst>
          </p:cNvPr>
          <p:cNvCxnSpPr>
            <a:cxnSpLocks/>
          </p:cNvCxnSpPr>
          <p:nvPr userDrawn="1"/>
        </p:nvCxnSpPr>
        <p:spPr>
          <a:xfrm>
            <a:off x="911224" y="3404912"/>
            <a:ext cx="10369551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ED90E71-76FD-3634-1548-7BD982449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4" y="2304150"/>
            <a:ext cx="10436225" cy="836818"/>
          </a:xfrm>
        </p:spPr>
        <p:txBody>
          <a:bodyPr bIns="0" anchor="b" anchorCtr="0"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85AFED-B8D2-94ED-C35E-59D17D8F346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11224" y="3041856"/>
            <a:ext cx="5513927" cy="565146"/>
          </a:xfrm>
          <a:solidFill>
            <a:schemeClr val="bg1"/>
          </a:solidFill>
        </p:spPr>
        <p:txBody>
          <a:bodyPr wrap="none">
            <a:spAutoFit/>
          </a:bodyPr>
          <a:lstStyle>
            <a:lvl1pPr>
              <a:lnSpc>
                <a:spcPct val="100000"/>
              </a:lnSpc>
              <a:defRPr sz="3200" cap="all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dirty="0" err="1"/>
              <a:t>Firstname</a:t>
            </a:r>
            <a:r>
              <a:rPr lang="en-GB" dirty="0"/>
              <a:t> </a:t>
            </a:r>
            <a:r>
              <a:rPr lang="en-GB" dirty="0" err="1"/>
              <a:t>Lastname</a:t>
            </a:r>
            <a:r>
              <a:rPr lang="en-GB" dirty="0"/>
              <a:t>, Company Nam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3767A5-6D0B-73C5-84B2-773CCE960E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6899D1-6A2F-519B-F15E-357F3EE1F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74690" y="6063632"/>
            <a:ext cx="139462" cy="153888"/>
          </a:xfrm>
        </p:spPr>
        <p:txBody>
          <a:bodyPr/>
          <a:lstStyle/>
          <a:p>
            <a:fld id="{0EF72E59-C254-4397-B951-C8783CEA4651}" type="slidenum">
              <a:rPr lang="en-GB" smtClean="0"/>
              <a:t>‹#›</a:t>
            </a:fld>
            <a:endParaRPr lang="en-GB" dirty="0"/>
          </a:p>
        </p:txBody>
      </p:sp>
      <p:cxnSp>
        <p:nvCxnSpPr>
          <p:cNvPr id="8" name="Weisse Linie">
            <a:extLst>
              <a:ext uri="{FF2B5EF4-FFF2-40B4-BE49-F238E27FC236}">
                <a16:creationId xmlns:a16="http://schemas.microsoft.com/office/drawing/2014/main" id="{33074644-6DAC-42BD-268E-8781EB9816D6}"/>
              </a:ext>
            </a:extLst>
          </p:cNvPr>
          <p:cNvCxnSpPr>
            <a:cxnSpLocks/>
          </p:cNvCxnSpPr>
          <p:nvPr userDrawn="1"/>
        </p:nvCxnSpPr>
        <p:spPr>
          <a:xfrm>
            <a:off x="11705160" y="6052672"/>
            <a:ext cx="0" cy="144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EDW-Logo wh">
            <a:extLst>
              <a:ext uri="{FF2B5EF4-FFF2-40B4-BE49-F238E27FC236}">
                <a16:creationId xmlns:a16="http://schemas.microsoft.com/office/drawing/2014/main" id="{527C5D24-82BA-9FB7-4DE1-7893E97D73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68350" y="6034672"/>
            <a:ext cx="52683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4351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wo Content with Imag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mage Placeholder Border">
            <a:extLst>
              <a:ext uri="{FF2B5EF4-FFF2-40B4-BE49-F238E27FC236}">
                <a16:creationId xmlns:a16="http://schemas.microsoft.com/office/drawing/2014/main" id="{929A1946-9FC5-480E-979B-D8BF5E98E4A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263525 w 12192000"/>
              <a:gd name="connsiteY0" fmla="*/ 260350 h 6858000"/>
              <a:gd name="connsiteX1" fmla="*/ 263525 w 12192000"/>
              <a:gd name="connsiteY1" fmla="*/ 6594742 h 6858000"/>
              <a:gd name="connsiteX2" fmla="*/ 11928475 w 12192000"/>
              <a:gd name="connsiteY2" fmla="*/ 6594742 h 6858000"/>
              <a:gd name="connsiteX3" fmla="*/ 11928475 w 12192000"/>
              <a:gd name="connsiteY3" fmla="*/ 26035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263525" y="260350"/>
                </a:moveTo>
                <a:lnTo>
                  <a:pt x="263525" y="6594742"/>
                </a:lnTo>
                <a:lnTo>
                  <a:pt x="11928475" y="6594742"/>
                </a:lnTo>
                <a:lnTo>
                  <a:pt x="11928475" y="2603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>
            <a:lvl1pPr algn="ctr"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Line-Placeholder red">
            <a:extLst>
              <a:ext uri="{FF2B5EF4-FFF2-40B4-BE49-F238E27FC236}">
                <a16:creationId xmlns:a16="http://schemas.microsoft.com/office/drawing/2014/main" id="{7E04147C-9EB0-6D41-3577-CBC63A9916C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709200" y="0"/>
            <a:ext cx="32400" cy="172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A3D5D26-F035-9F43-4841-6B1D8E94EE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6F10C72-8076-57BC-BD15-D02F146D5B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5781" y="1548000"/>
            <a:ext cx="10512425" cy="284609"/>
          </a:xfrm>
        </p:spPr>
        <p:txBody>
          <a:bodyPr wrap="square" lIns="72000" tIns="36000" rIns="72000" bIns="36000">
            <a:noAutofit/>
          </a:bodyPr>
          <a:lstStyle>
            <a:lvl1pPr>
              <a:lnSpc>
                <a:spcPct val="100000"/>
              </a:lnSpc>
              <a:defRPr sz="14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10D7B2-9F80-2216-DCC3-CDDC6B3669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205037"/>
            <a:ext cx="5181600" cy="36004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901B2E-8E4D-417D-25F4-8A5A275C09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205037"/>
            <a:ext cx="5181600" cy="36004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Rectangle-Placeholder red">
            <a:extLst>
              <a:ext uri="{FF2B5EF4-FFF2-40B4-BE49-F238E27FC236}">
                <a16:creationId xmlns:a16="http://schemas.microsoft.com/office/drawing/2014/main" id="{1438383A-8924-B84B-B43F-0EE53E0060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230000" y="5968800"/>
            <a:ext cx="1962000" cy="313200"/>
          </a:xfr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FD6F0E-C2FB-4136-A159-F3BD67CD3F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66E5C7-A18C-9D89-326E-27FFC5EFC7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74690" y="6063632"/>
            <a:ext cx="139462" cy="153888"/>
          </a:xfrm>
        </p:spPr>
        <p:txBody>
          <a:bodyPr/>
          <a:lstStyle/>
          <a:p>
            <a:fld id="{0EF72E59-C254-4397-B951-C8783CEA4651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050D59-99BC-A360-E07E-804BE7C108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5779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Blue with Imag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D6AEFD13-AA36-160A-EEDF-582D8CAEF3F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972400 h 6858000"/>
              <a:gd name="connsiteX3" fmla="*/ 11928475 w 12192000"/>
              <a:gd name="connsiteY3" fmla="*/ 5972400 h 6858000"/>
              <a:gd name="connsiteX4" fmla="*/ 11928475 w 12192000"/>
              <a:gd name="connsiteY4" fmla="*/ 260350 h 6858000"/>
              <a:gd name="connsiteX5" fmla="*/ 263525 w 12192000"/>
              <a:gd name="connsiteY5" fmla="*/ 260350 h 6858000"/>
              <a:gd name="connsiteX6" fmla="*/ 263525 w 12192000"/>
              <a:gd name="connsiteY6" fmla="*/ 6594742 h 6858000"/>
              <a:gd name="connsiteX7" fmla="*/ 11928475 w 12192000"/>
              <a:gd name="connsiteY7" fmla="*/ 6594742 h 6858000"/>
              <a:gd name="connsiteX8" fmla="*/ 11928475 w 12192000"/>
              <a:gd name="connsiteY8" fmla="*/ 6278400 h 6858000"/>
              <a:gd name="connsiteX9" fmla="*/ 12192000 w 12192000"/>
              <a:gd name="connsiteY9" fmla="*/ 627840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972400"/>
                </a:lnTo>
                <a:lnTo>
                  <a:pt x="11928475" y="5972400"/>
                </a:lnTo>
                <a:lnTo>
                  <a:pt x="11928475" y="260350"/>
                </a:lnTo>
                <a:lnTo>
                  <a:pt x="263525" y="260350"/>
                </a:lnTo>
                <a:lnTo>
                  <a:pt x="263525" y="6594742"/>
                </a:lnTo>
                <a:lnTo>
                  <a:pt x="11928475" y="6594742"/>
                </a:lnTo>
                <a:lnTo>
                  <a:pt x="11928475" y="6278400"/>
                </a:lnTo>
                <a:lnTo>
                  <a:pt x="12192000" y="627840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>
            <a:lvl1pPr algn="ctr"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Line-Placeholder red">
            <a:extLst>
              <a:ext uri="{FF2B5EF4-FFF2-40B4-BE49-F238E27FC236}">
                <a16:creationId xmlns:a16="http://schemas.microsoft.com/office/drawing/2014/main" id="{096A147D-83E9-4071-0311-181909F519AC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720000" y="0"/>
            <a:ext cx="32400" cy="1440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D7F668-B817-5B3C-098E-FDB660969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2074EB8-FC1F-3802-72AE-3F4DE9D927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4ADF36-18DC-C80F-F63B-A12A90E432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74690" y="6063632"/>
            <a:ext cx="139462" cy="153888"/>
          </a:xfrm>
        </p:spPr>
        <p:txBody>
          <a:bodyPr/>
          <a:lstStyle/>
          <a:p>
            <a:fld id="{0EF72E59-C254-4397-B951-C8783CEA4651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1AD2D4-00EC-A6B4-4EFC-1548EC039B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855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Image -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4D747CDB-98C9-5FB6-D1D4-FE9398AF6CB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0D7E59-88DF-C949-7839-DD2910595A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415" y="2565000"/>
            <a:ext cx="10657259" cy="864000"/>
          </a:xfrm>
        </p:spPr>
        <p:txBody>
          <a:bodyPr anchor="b" anchorCtr="0"/>
          <a:lstStyle>
            <a:lvl1pPr algn="l">
              <a:lnSpc>
                <a:spcPts val="44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11FE9DA-4464-4C4C-B73E-5CF8B698C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415" y="3284984"/>
            <a:ext cx="10657260" cy="5040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36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GB" dirty="0"/>
          </a:p>
        </p:txBody>
      </p:sp>
      <p:sp>
        <p:nvSpPr>
          <p:cNvPr id="12" name="Logo-Placeholder wh">
            <a:extLst>
              <a:ext uri="{FF2B5EF4-FFF2-40B4-BE49-F238E27FC236}">
                <a16:creationId xmlns:a16="http://schemas.microsoft.com/office/drawing/2014/main" id="{470F5866-7817-C127-5CDD-62229DBCC13D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866932" y="756000"/>
            <a:ext cx="1580264" cy="540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latin typeface="DIN Next LT Pro Condensed" panose="020B080602020305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13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7242" userDrawn="1">
          <p15:clr>
            <a:srgbClr val="FBAE40"/>
          </p15:clr>
        </p15:guide>
        <p15:guide id="4" pos="43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Image - blu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E05EAE63-EAC7-4726-4EC1-8EA6F46FA07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0D7E59-88DF-C949-7839-DD2910595A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415" y="2565000"/>
            <a:ext cx="10657259" cy="864000"/>
          </a:xfrm>
        </p:spPr>
        <p:txBody>
          <a:bodyPr anchor="b" anchorCtr="0"/>
          <a:lstStyle>
            <a:lvl1pPr algn="l">
              <a:lnSpc>
                <a:spcPts val="4400"/>
              </a:lnSpc>
              <a:defRPr sz="48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11FE9DA-4464-4C4C-B73E-5CF8B698C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415" y="3284984"/>
            <a:ext cx="10657260" cy="5040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3600" cap="all" baseline="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GB" dirty="0"/>
          </a:p>
        </p:txBody>
      </p:sp>
      <p:sp>
        <p:nvSpPr>
          <p:cNvPr id="10" name="Logo-Placeholder bl">
            <a:extLst>
              <a:ext uri="{FF2B5EF4-FFF2-40B4-BE49-F238E27FC236}">
                <a16:creationId xmlns:a16="http://schemas.microsoft.com/office/drawing/2014/main" id="{62771A6F-5576-7FEB-E140-B2F0CEA708D8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866932" y="756000"/>
            <a:ext cx="1580264" cy="540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latin typeface="DIN Next LT Pro Condensed" panose="020B080602020305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0273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7242" userDrawn="1">
          <p15:clr>
            <a:srgbClr val="FBAE40"/>
          </p15:clr>
        </p15:guide>
        <p15:guide id="4" pos="43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EA9B60DC-1126-7D59-76D3-1D8A52913E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BEDF1B-06F4-F1F0-F5A6-AE544DC352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1224" y="2205304"/>
            <a:ext cx="10369551" cy="3600184"/>
          </a:xfrm>
        </p:spPr>
        <p:txBody>
          <a:bodyPr/>
          <a:lstStyle>
            <a:lvl1pPr>
              <a:defRPr cap="all" baseline="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7" name="Rote Linie">
            <a:extLst>
              <a:ext uri="{FF2B5EF4-FFF2-40B4-BE49-F238E27FC236}">
                <a16:creationId xmlns:a16="http://schemas.microsoft.com/office/drawing/2014/main" id="{D67D120D-4B04-8DE0-0364-A5A64D98E90D}"/>
              </a:ext>
            </a:extLst>
          </p:cNvPr>
          <p:cNvCxnSpPr>
            <a:cxnSpLocks/>
          </p:cNvCxnSpPr>
          <p:nvPr userDrawn="1"/>
        </p:nvCxnSpPr>
        <p:spPr>
          <a:xfrm>
            <a:off x="720000" y="0"/>
            <a:ext cx="0" cy="172800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5DBAD0D5-23BC-5AE9-B938-2E724B0106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ACCF1F6D-4895-BE6B-A3CC-6AD23BD9D2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7CDFAA0-26B0-687C-5EC4-9D6A96BE79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6407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Border">
            <a:extLst>
              <a:ext uri="{FF2B5EF4-FFF2-40B4-BE49-F238E27FC236}">
                <a16:creationId xmlns:a16="http://schemas.microsoft.com/office/drawing/2014/main" id="{CFC7D7E1-71DB-DA07-6B25-580EEFF0C75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263525 w 12192000"/>
              <a:gd name="connsiteY0" fmla="*/ 268787 h 6858000"/>
              <a:gd name="connsiteX1" fmla="*/ 263525 w 12192000"/>
              <a:gd name="connsiteY1" fmla="*/ 6594742 h 6858000"/>
              <a:gd name="connsiteX2" fmla="*/ 11928475 w 12192000"/>
              <a:gd name="connsiteY2" fmla="*/ 6594742 h 6858000"/>
              <a:gd name="connsiteX3" fmla="*/ 11928475 w 12192000"/>
              <a:gd name="connsiteY3" fmla="*/ 6277672 h 6858000"/>
              <a:gd name="connsiteX4" fmla="*/ 12191999 w 12192000"/>
              <a:gd name="connsiteY4" fmla="*/ 6277672 h 6858000"/>
              <a:gd name="connsiteX5" fmla="*/ 12191999 w 12192000"/>
              <a:gd name="connsiteY5" fmla="*/ 5971672 h 6858000"/>
              <a:gd name="connsiteX6" fmla="*/ 11928475 w 12192000"/>
              <a:gd name="connsiteY6" fmla="*/ 5971672 h 6858000"/>
              <a:gd name="connsiteX7" fmla="*/ 11928475 w 12192000"/>
              <a:gd name="connsiteY7" fmla="*/ 268787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63525" y="268787"/>
                </a:moveTo>
                <a:lnTo>
                  <a:pt x="263525" y="6594742"/>
                </a:lnTo>
                <a:lnTo>
                  <a:pt x="11928475" y="6594742"/>
                </a:lnTo>
                <a:lnTo>
                  <a:pt x="11928475" y="6277672"/>
                </a:lnTo>
                <a:lnTo>
                  <a:pt x="12191999" y="6277672"/>
                </a:lnTo>
                <a:lnTo>
                  <a:pt x="12191999" y="5971672"/>
                </a:lnTo>
                <a:lnTo>
                  <a:pt x="11928475" y="5971672"/>
                </a:lnTo>
                <a:lnTo>
                  <a:pt x="11928475" y="268787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5" name="Line-Placeholder red">
            <a:extLst>
              <a:ext uri="{FF2B5EF4-FFF2-40B4-BE49-F238E27FC236}">
                <a16:creationId xmlns:a16="http://schemas.microsoft.com/office/drawing/2014/main" id="{71292720-26C2-E5DE-10EA-3FCDAE265B06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09200" y="0"/>
            <a:ext cx="32400" cy="3420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latin typeface="DIN Next LT Pro Condensed" panose="020B080602020305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D90E71-76FD-3634-1548-7BD982449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2564903"/>
            <a:ext cx="10508033" cy="1044117"/>
          </a:xfrm>
        </p:spPr>
        <p:txBody>
          <a:bodyPr anchor="b"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FD3E975-82FE-BDDD-4252-D409D0643F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1B7D88-D4ED-77A2-F623-1938077C76C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C7A3D9-1EAC-0FF4-E78F-AEF0EBEA703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2798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D4B3072B-D74E-86B9-D8FD-1F0AB422E6A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63525" y="260350"/>
            <a:ext cx="11664950" cy="6337002"/>
          </a:xfrm>
          <a:solidFill>
            <a:schemeClr val="bg1">
              <a:lumMod val="75000"/>
            </a:schemeClr>
          </a:solidFill>
          <a:effectLst>
            <a:outerShdw blurRad="76200" dist="76200" dir="2700000" algn="tl" rotWithShape="0">
              <a:prstClr val="black">
                <a:alpha val="60000"/>
              </a:prstClr>
            </a:outerShdw>
          </a:effectLst>
        </p:spPr>
        <p:txBody>
          <a:bodyPr/>
          <a:lstStyle>
            <a:lvl1pPr algn="ctr"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" name="Line-Placeholder red">
            <a:extLst>
              <a:ext uri="{FF2B5EF4-FFF2-40B4-BE49-F238E27FC236}">
                <a16:creationId xmlns:a16="http://schemas.microsoft.com/office/drawing/2014/main" id="{D0CB9CA7-D01D-090E-1440-93A1E20F1B05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709200" y="0"/>
            <a:ext cx="32400" cy="3420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latin typeface="DIN Next LT Pro Condensed" panose="020B080602020305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D90E71-76FD-3634-1548-7BD982449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800" y="2566800"/>
            <a:ext cx="10508649" cy="1044117"/>
          </a:xfrm>
        </p:spPr>
        <p:txBody>
          <a:bodyPr anchor="b" anchorCtr="0"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8" name="Rectangle-Placeholder red">
            <a:extLst>
              <a:ext uri="{FF2B5EF4-FFF2-40B4-BE49-F238E27FC236}">
                <a16:creationId xmlns:a16="http://schemas.microsoft.com/office/drawing/2014/main" id="{AD6FC671-AE6D-51E7-4688-55FE523974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30000" y="5968800"/>
            <a:ext cx="1962000" cy="3132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>
                <a:latin typeface="DIN Next LT Pro Condensed" panose="020B080602020305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060FAD1-F436-8313-FF0D-EA097C69A9B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61ABC55F-F8E3-6C25-6758-008CFC2C44C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B625B51-A4AA-F8BB-8D1D-6DB607ECA1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4582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Speak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Rote Linie">
            <a:extLst>
              <a:ext uri="{FF2B5EF4-FFF2-40B4-BE49-F238E27FC236}">
                <a16:creationId xmlns:a16="http://schemas.microsoft.com/office/drawing/2014/main" id="{85A3C22C-FBF4-67FA-7B25-18775A4DEFDB}"/>
              </a:ext>
            </a:extLst>
          </p:cNvPr>
          <p:cNvCxnSpPr>
            <a:cxnSpLocks/>
          </p:cNvCxnSpPr>
          <p:nvPr userDrawn="1"/>
        </p:nvCxnSpPr>
        <p:spPr>
          <a:xfrm>
            <a:off x="720000" y="0"/>
            <a:ext cx="0" cy="342000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ED90E71-76FD-3634-1548-7BD982449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20" y="2304150"/>
            <a:ext cx="10508030" cy="836818"/>
          </a:xfrm>
        </p:spPr>
        <p:txBody>
          <a:bodyPr bIns="0" anchor="b" anchorCtr="0"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85AFED-B8D2-94ED-C35E-59D17D8F346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420" y="3041856"/>
            <a:ext cx="10441355" cy="495035"/>
          </a:xfrm>
        </p:spPr>
        <p:txBody>
          <a:bodyPr/>
          <a:lstStyle>
            <a:lvl1pPr>
              <a:lnSpc>
                <a:spcPct val="100000"/>
              </a:lnSpc>
              <a:defRPr sz="3200" cap="all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dirty="0" err="1"/>
              <a:t>Firstname</a:t>
            </a:r>
            <a:r>
              <a:rPr lang="en-GB" dirty="0"/>
              <a:t> </a:t>
            </a:r>
            <a:r>
              <a:rPr lang="en-GB" dirty="0" err="1"/>
              <a:t>Lastname</a:t>
            </a:r>
            <a:r>
              <a:rPr lang="en-GB" dirty="0"/>
              <a:t>, Company Nam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968D6E9-1E1C-508C-240D-CBFE61F551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C9D164E-4B49-77A8-F41B-B28CF6CA5AE4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AD360F9-4F06-5B89-A57E-C66B78CCDF6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1621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4.sv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lauer Rahmen" descr="Ein Bild, das Rechteck, Screenshot, Quadrat, Bilderrahmen enthält.">
            <a:extLst>
              <a:ext uri="{FF2B5EF4-FFF2-40B4-BE49-F238E27FC236}">
                <a16:creationId xmlns:a16="http://schemas.microsoft.com/office/drawing/2014/main" id="{F2037E45-9605-103C-8150-E7BE6C6DCB14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9" y="0"/>
            <a:ext cx="12190781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54796B5-B3F3-9866-63F2-6CF110AD3C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726604"/>
            <a:ext cx="10512000" cy="864096"/>
          </a:xfrm>
          <a:prstGeom prst="rect">
            <a:avLst/>
          </a:prstGeom>
        </p:spPr>
        <p:txBody>
          <a:bodyPr vert="horz" lIns="72000" tIns="36000" rIns="72000" bIns="0" rtlCol="0" anchor="b" anchorCtr="0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13E58A-660C-3B12-F356-FD07B8570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205304"/>
            <a:ext cx="10512000" cy="3600184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cxnSp>
        <p:nvCxnSpPr>
          <p:cNvPr id="10" name="Rote Linie" hidden="1">
            <a:extLst>
              <a:ext uri="{FF2B5EF4-FFF2-40B4-BE49-F238E27FC236}">
                <a16:creationId xmlns:a16="http://schemas.microsoft.com/office/drawing/2014/main" id="{64B347F7-3502-8FEE-B4D1-76E4AC32EDAF}"/>
              </a:ext>
            </a:extLst>
          </p:cNvPr>
          <p:cNvCxnSpPr>
            <a:cxnSpLocks/>
          </p:cNvCxnSpPr>
          <p:nvPr userDrawn="1"/>
        </p:nvCxnSpPr>
        <p:spPr>
          <a:xfrm>
            <a:off x="720000" y="0"/>
            <a:ext cx="0" cy="172800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7" descr="Ein Bild, das Text, Screenshot, Schrift, Rechteck enthält.&#10;&#10;Automatisch generierte Beschreibung" hidden="1">
            <a:extLst>
              <a:ext uri="{FF2B5EF4-FFF2-40B4-BE49-F238E27FC236}">
                <a16:creationId xmlns:a16="http://schemas.microsoft.com/office/drawing/2014/main" id="{7936BB2F-6F18-8C67-5939-404E734DAD74}"/>
              </a:ext>
            </a:extLst>
          </p:cNvPr>
          <p:cNvPicPr>
            <a:picLocks noChangeAspect="1"/>
          </p:cNvPicPr>
          <p:nvPr userDrawn="1"/>
        </p:nvPicPr>
        <p:blipFill>
          <a:blip r:embed="rId37"/>
          <a:stretch>
            <a:fillRect/>
          </a:stretch>
        </p:blipFill>
        <p:spPr>
          <a:xfrm>
            <a:off x="9422298" y="5698637"/>
            <a:ext cx="3034406" cy="1391575"/>
          </a:xfrm>
          <a:prstGeom prst="rect">
            <a:avLst/>
          </a:prstGeom>
        </p:spPr>
      </p:pic>
      <p:sp>
        <p:nvSpPr>
          <p:cNvPr id="16" name="Rotes Rechteck">
            <a:extLst>
              <a:ext uri="{FF2B5EF4-FFF2-40B4-BE49-F238E27FC236}">
                <a16:creationId xmlns:a16="http://schemas.microsoft.com/office/drawing/2014/main" id="{BC920613-FB26-77C8-91E9-B76D3D9C2975}"/>
              </a:ext>
            </a:extLst>
          </p:cNvPr>
          <p:cNvSpPr/>
          <p:nvPr userDrawn="1"/>
        </p:nvSpPr>
        <p:spPr>
          <a:xfrm>
            <a:off x="10230082" y="5971672"/>
            <a:ext cx="1961917" cy="30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GB" sz="1800" dirty="0">
                <a:effectLst/>
                <a:latin typeface="DIN Next LT Pro Condensed" panose="020B0806020203050203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en-US" dirty="0"/>
          </a:p>
        </p:txBody>
      </p:sp>
      <p:cxnSp>
        <p:nvCxnSpPr>
          <p:cNvPr id="14" name="Weisse Linie" hidden="1">
            <a:extLst>
              <a:ext uri="{FF2B5EF4-FFF2-40B4-BE49-F238E27FC236}">
                <a16:creationId xmlns:a16="http://schemas.microsoft.com/office/drawing/2014/main" id="{ACD6D148-7F1E-8A40-74D0-E87D8BAAE2FA}"/>
              </a:ext>
            </a:extLst>
          </p:cNvPr>
          <p:cNvCxnSpPr>
            <a:cxnSpLocks/>
          </p:cNvCxnSpPr>
          <p:nvPr userDrawn="1"/>
        </p:nvCxnSpPr>
        <p:spPr>
          <a:xfrm>
            <a:off x="11705160" y="6052672"/>
            <a:ext cx="0" cy="144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1" name="EDW-Logo wh">
            <a:extLst>
              <a:ext uri="{FF2B5EF4-FFF2-40B4-BE49-F238E27FC236}">
                <a16:creationId xmlns:a16="http://schemas.microsoft.com/office/drawing/2014/main" id="{72D77E84-4424-5ECA-F70D-FBCBBD6DD184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10268350" y="6034672"/>
            <a:ext cx="526830" cy="180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4A1E97-77DC-8454-2FDE-52CB26F1D884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10843924" y="6043672"/>
            <a:ext cx="796692" cy="16200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051C66-E581-773B-2274-3CCA76AEB123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9768414" y="343917"/>
            <a:ext cx="2015596" cy="232165"/>
          </a:xfrm>
          <a:prstGeom prst="rect">
            <a:avLst/>
          </a:prstGeom>
        </p:spPr>
        <p:txBody>
          <a:bodyPr vert="horz" wrap="square" lIns="72000" tIns="72000" rIns="72000" bIns="36000" rtlCol="0" anchor="ctr">
            <a:spAutoFit/>
          </a:bodyPr>
          <a:lstStyle>
            <a:lvl1pPr algn="r">
              <a:defRPr sz="800" cap="all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00DE0F-5C17-255F-35C1-A875E88157CA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650058" y="6043672"/>
            <a:ext cx="319578" cy="162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r">
              <a:defRPr sz="1000">
                <a:solidFill>
                  <a:schemeClr val="bg1"/>
                </a:solidFill>
                <a:latin typeface="+mj-lt"/>
              </a:defRPr>
            </a:lvl1pPr>
          </a:lstStyle>
          <a:p>
            <a:fld id="{FC38C403-C66A-4AC9-A1C8-BC542D1294E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3153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57" r:id="rId2"/>
    <p:sldLayoutId id="2147483649" r:id="rId3"/>
    <p:sldLayoutId id="2147483661" r:id="rId4"/>
    <p:sldLayoutId id="2147483664" r:id="rId5"/>
    <p:sldLayoutId id="2147483665" r:id="rId6"/>
    <p:sldLayoutId id="2147483651" r:id="rId7"/>
    <p:sldLayoutId id="2147483688" r:id="rId8"/>
    <p:sldLayoutId id="2147483667" r:id="rId9"/>
    <p:sldLayoutId id="2147483683" r:id="rId10"/>
    <p:sldLayoutId id="2147483650" r:id="rId11"/>
    <p:sldLayoutId id="2147483673" r:id="rId12"/>
    <p:sldLayoutId id="2147483652" r:id="rId13"/>
    <p:sldLayoutId id="2147483690" r:id="rId14"/>
    <p:sldLayoutId id="2147483672" r:id="rId15"/>
    <p:sldLayoutId id="2147483670" r:id="rId16"/>
    <p:sldLayoutId id="2147483671" r:id="rId17"/>
    <p:sldLayoutId id="2147483654" r:id="rId18"/>
    <p:sldLayoutId id="2147483676" r:id="rId19"/>
    <p:sldLayoutId id="2147483678" r:id="rId20"/>
    <p:sldLayoutId id="2147483689" r:id="rId21"/>
    <p:sldLayoutId id="2147483704" r:id="rId22"/>
    <p:sldLayoutId id="2147483655" r:id="rId23"/>
    <p:sldLayoutId id="2147483669" r:id="rId24"/>
    <p:sldLayoutId id="2147483691" r:id="rId25"/>
    <p:sldLayoutId id="2147483680" r:id="rId26"/>
    <p:sldLayoutId id="2147483681" r:id="rId27"/>
    <p:sldLayoutId id="2147483687" r:id="rId28"/>
    <p:sldLayoutId id="2147483692" r:id="rId29"/>
    <p:sldLayoutId id="2147483682" r:id="rId30"/>
    <p:sldLayoutId id="2147483686" r:id="rId31"/>
    <p:sldLayoutId id="2147483705" r:id="rId32"/>
    <p:sldLayoutId id="2147483706" r:id="rId33"/>
    <p:sldLayoutId id="2147483707" r:id="rId34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buClr>
          <a:schemeClr val="accent3"/>
        </a:buClr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296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51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728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166" userDrawn="1">
          <p15:clr>
            <a:srgbClr val="F26B43"/>
          </p15:clr>
        </p15:guide>
        <p15:guide id="3" pos="7514" userDrawn="1">
          <p15:clr>
            <a:srgbClr val="F26B43"/>
          </p15:clr>
        </p15:guide>
        <p15:guide id="5" orient="horz" pos="3657" userDrawn="1">
          <p15:clr>
            <a:srgbClr val="F26B43"/>
          </p15:clr>
        </p15:guide>
        <p15:guide id="8" pos="574" userDrawn="1">
          <p15:clr>
            <a:srgbClr val="F26B43"/>
          </p15:clr>
        </p15:guide>
        <p15:guide id="9" pos="7106" userDrawn="1">
          <p15:clr>
            <a:srgbClr val="F26B43"/>
          </p15:clr>
        </p15:guide>
        <p15:guide id="10" orient="horz" pos="1389" userDrawn="1">
          <p15:clr>
            <a:srgbClr val="F26B43"/>
          </p15:clr>
        </p15:guide>
        <p15:guide id="11" orient="horz" pos="1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jp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BC3BD243-E3BE-9382-85D6-A7AEB4AA13E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t="1925" b="1925"/>
          <a:stretch/>
        </p:blipFill>
        <p:spPr>
          <a:xfrm>
            <a:off x="0" y="0"/>
            <a:ext cx="12192000" cy="6858000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4864CB9-0676-477B-08F8-520D2B87A5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55307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816BC5-D607-7981-7FB7-B1F971F068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Low angle view of a building&#10;&#10;Description automatically generated">
            <a:extLst>
              <a:ext uri="{FF2B5EF4-FFF2-40B4-BE49-F238E27FC236}">
                <a16:creationId xmlns:a16="http://schemas.microsoft.com/office/drawing/2014/main" id="{A440E150-448E-82B2-1870-82307A03BB66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/>
          <a:srcRect t="10632" b="10632"/>
          <a:stretch/>
        </p:blipFill>
        <p:spPr>
          <a:xfrm>
            <a:off x="0" y="0"/>
            <a:ext cx="12192000" cy="6858000"/>
          </a:xfr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0B348D-32CB-464E-B538-9EB982B7891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9200" y="0"/>
            <a:ext cx="32400" cy="1440000"/>
          </a:xfrm>
        </p:spPr>
        <p:txBody>
          <a:bodyPr/>
          <a:lstStyle/>
          <a:p>
            <a:r>
              <a:rPr lang="en-GB"/>
              <a:t> 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76DE9C1-7A2B-8AC2-3360-3813A6D11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726604"/>
            <a:ext cx="10512000" cy="864096"/>
          </a:xfrm>
        </p:spPr>
        <p:txBody>
          <a:bodyPr/>
          <a:lstStyle/>
          <a:p>
            <a:r>
              <a:rPr lang="en-GB"/>
              <a:t>Upcoming events: H1 2026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5F130239-26F4-5F31-EE02-6A35DC170127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956133" y="6047728"/>
            <a:ext cx="684483" cy="15388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Pro Condensed"/>
                <a:ea typeface="+mn-ea"/>
                <a:cs typeface="+mn-cs"/>
              </a:rPr>
              <a:t>DECEMBER 2025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A2384983-BF15-811E-4AFD-EA315DF40A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650058" y="6043672"/>
            <a:ext cx="319578" cy="1620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38C403-C66A-4AC9-A1C8-BC542D1294E4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Pro Condense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 Next LT Pro Condensed"/>
              <a:ea typeface="+mn-ea"/>
              <a:cs typeface="+mn-cs"/>
            </a:endParaRPr>
          </a:p>
        </p:txBody>
      </p:sp>
      <p:pic>
        <p:nvPicPr>
          <p:cNvPr id="3" name="Picture 2" descr="A screenshot of a flyer&#10;&#10;AI-generated content may be incorrect.">
            <a:extLst>
              <a:ext uri="{FF2B5EF4-FFF2-40B4-BE49-F238E27FC236}">
                <a16:creationId xmlns:a16="http://schemas.microsoft.com/office/drawing/2014/main" id="{21902D3F-6A5D-0707-84E1-C561F677A4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1385" y="1750782"/>
            <a:ext cx="2985548" cy="438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5517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Placeholder 53">
            <a:extLst>
              <a:ext uri="{FF2B5EF4-FFF2-40B4-BE49-F238E27FC236}">
                <a16:creationId xmlns:a16="http://schemas.microsoft.com/office/drawing/2014/main" id="{3206E9AD-5A73-C5FC-2010-798551B75231}"/>
              </a:ext>
            </a:extLst>
          </p:cNvPr>
          <p:cNvPicPr>
            <a:picLocks noGrp="1" noChangeAspect="1"/>
          </p:cNvPicPr>
          <p:nvPr>
            <p:ph type="pic" sz="quarter" idx="3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705" b="29705"/>
          <a:stretch/>
        </p:blipFill>
        <p:spPr>
          <a:xfrm>
            <a:off x="0" y="0"/>
            <a:ext cx="12192000" cy="6858000"/>
          </a:xfrm>
        </p:spPr>
      </p:pic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943293F-E7BE-7DB1-631F-C582A7DFE00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9200" y="0"/>
            <a:ext cx="32400" cy="1728000"/>
          </a:xfrm>
        </p:spPr>
        <p:txBody>
          <a:bodyPr/>
          <a:lstStyle/>
          <a:p>
            <a:r>
              <a:rPr lang="en-GB" dirty="0"/>
              <a:t> 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C54E4E-8A65-3E70-7B76-8364A4ECB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726604"/>
            <a:ext cx="10512000" cy="864096"/>
          </a:xfrm>
        </p:spPr>
        <p:txBody>
          <a:bodyPr/>
          <a:lstStyle/>
          <a:p>
            <a:r>
              <a:rPr lang="en-GB"/>
              <a:t>Thank You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1371DE6-3EA0-F043-1141-2557D8CF6C5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5782" y="1548000"/>
            <a:ext cx="5186574" cy="284609"/>
          </a:xfrm>
        </p:spPr>
        <p:txBody>
          <a:bodyPr/>
          <a:lstStyle/>
          <a:p>
            <a:r>
              <a:rPr lang="en-GB" dirty="0"/>
              <a:t>Contact Us</a:t>
            </a:r>
          </a:p>
        </p:txBody>
      </p:sp>
      <p:sp>
        <p:nvSpPr>
          <p:cNvPr id="36" name="Date Placeholder 35">
            <a:extLst>
              <a:ext uri="{FF2B5EF4-FFF2-40B4-BE49-F238E27FC236}">
                <a16:creationId xmlns:a16="http://schemas.microsoft.com/office/drawing/2014/main" id="{4CE1BC86-31AA-D731-FE15-326E5C8987EC}"/>
              </a:ext>
            </a:extLst>
          </p:cNvPr>
          <p:cNvSpPr>
            <a:spLocks noGrp="1"/>
          </p:cNvSpPr>
          <p:nvPr>
            <p:ph type="dt" sz="half" idx="28"/>
          </p:nvPr>
        </p:nvSpPr>
        <p:spPr>
          <a:xfrm>
            <a:off x="10843924" y="6043672"/>
            <a:ext cx="796692" cy="162000"/>
          </a:xfrm>
        </p:spPr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D033003C-A166-4D30-9F77-30725EBB3860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650058" y="6043672"/>
            <a:ext cx="319578" cy="162000"/>
          </a:xfrm>
        </p:spPr>
        <p:txBody>
          <a:bodyPr/>
          <a:lstStyle/>
          <a:p>
            <a:fld id="{FC38C403-C66A-4AC9-A1C8-BC542D1294E4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37700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dark blue sky with white stars&#10;&#10;Description automatically generated">
            <a:extLst>
              <a:ext uri="{FF2B5EF4-FFF2-40B4-BE49-F238E27FC236}">
                <a16:creationId xmlns:a16="http://schemas.microsoft.com/office/drawing/2014/main" id="{C010B260-51C4-2522-689B-0910D98CD91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4" b="34"/>
          <a:stretch/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F65DF95-A9FD-3DCF-A8BC-F713896952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solidFill>
                  <a:schemeClr val="bg1"/>
                </a:solidFill>
              </a:rPr>
              <a:t>Thank You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6663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A person standing on a building&#10;&#10;Description automatically generated">
            <a:extLst>
              <a:ext uri="{FF2B5EF4-FFF2-40B4-BE49-F238E27FC236}">
                <a16:creationId xmlns:a16="http://schemas.microsoft.com/office/drawing/2014/main" id="{1BFCBCAB-9905-4650-AF47-7F3BC4CF8DF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3B973205-BA50-7C7B-E069-D625F3A6B63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gulatory Roundtable: Updates and Outlook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5FADFDE6-4F36-E20F-B90E-8CBD930F3F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17 December 2025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3CDDF21-A01B-9965-9316-0E0CD250A0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30217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910D2AD-891A-86FA-B90B-2F564BBEBA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254CF05F-7D31-3C9F-6BF4-9D980056D08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75A751B5-344C-2368-1F06-7E5E10C6AA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3</a:t>
            </a:fld>
            <a:endParaRPr lang="en-GB" dirty="0"/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26106859-D782-DD8A-9C73-38B2E460CE4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17925815"/>
              </p:ext>
            </p:extLst>
          </p:nvPr>
        </p:nvGraphicFramePr>
        <p:xfrm>
          <a:off x="911224" y="2205038"/>
          <a:ext cx="6480920" cy="34061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6130565">
                  <a:extLst>
                    <a:ext uri="{9D8B030D-6E8A-4147-A177-3AD203B41FA5}">
                      <a16:colId xmlns:a16="http://schemas.microsoft.com/office/drawing/2014/main" val="605777666"/>
                    </a:ext>
                  </a:extLst>
                </a:gridCol>
                <a:gridCol w="350355">
                  <a:extLst>
                    <a:ext uri="{9D8B030D-6E8A-4147-A177-3AD203B41FA5}">
                      <a16:colId xmlns:a16="http://schemas.microsoft.com/office/drawing/2014/main" val="229536387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r>
                        <a:rPr lang="en-GB" sz="1600" cap="all" baseline="0" dirty="0">
                          <a:solidFill>
                            <a:schemeClr val="accent3"/>
                          </a:solidFill>
                          <a:latin typeface="+mj-lt"/>
                        </a:rPr>
                        <a:t>Welcome &amp; Introduction</a:t>
                      </a:r>
                    </a:p>
                  </a:txBody>
                  <a:tcPr marL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cap="all" baseline="0" dirty="0">
                        <a:solidFill>
                          <a:schemeClr val="accent3"/>
                        </a:solidFill>
                        <a:latin typeface="+mj-lt"/>
                      </a:endParaRPr>
                    </a:p>
                  </a:txBody>
                  <a:tcPr marL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1320515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r>
                        <a:rPr lang="en-GB" sz="1200" cap="all" baseline="0" dirty="0">
                          <a:solidFill>
                            <a:schemeClr val="tx2"/>
                          </a:solidFill>
                          <a:latin typeface="+mj-lt"/>
                        </a:rPr>
                        <a:t>Dr. Christian Thun, European DataWarehouse </a:t>
                      </a:r>
                    </a:p>
                  </a:txBody>
                  <a:tcPr marL="0" marT="0" marB="0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cap="all" baseline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08559533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r>
                        <a:rPr lang="en-GB" sz="1600" cap="all" baseline="0" dirty="0">
                          <a:solidFill>
                            <a:schemeClr val="accent3"/>
                          </a:solidFill>
                          <a:latin typeface="+mj-lt"/>
                        </a:rPr>
                        <a:t>Latest Developments in EU and UK Securitisation Regulation</a:t>
                      </a:r>
                    </a:p>
                  </a:txBody>
                  <a:tcPr marL="0" marT="182880" marB="0" anchor="b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cap="all" baseline="0" dirty="0">
                        <a:solidFill>
                          <a:schemeClr val="accent3"/>
                        </a:solidFill>
                        <a:latin typeface="+mj-lt"/>
                      </a:endParaRPr>
                    </a:p>
                  </a:txBody>
                  <a:tcPr marL="0" marT="182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76617497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r>
                        <a:rPr lang="en-GB" sz="1200" cap="all" baseline="0" dirty="0">
                          <a:solidFill>
                            <a:schemeClr val="tx2"/>
                          </a:solidFill>
                          <a:latin typeface="+mj-lt"/>
                        </a:rPr>
                        <a:t>Dr. Christian Thun, EDW</a:t>
                      </a:r>
                    </a:p>
                    <a:p>
                      <a:r>
                        <a:rPr lang="en-GB" sz="1200" cap="all" baseline="0" dirty="0">
                          <a:solidFill>
                            <a:schemeClr val="tx2"/>
                          </a:solidFill>
                          <a:latin typeface="+mj-lt"/>
                        </a:rPr>
                        <a:t>Shaun Baddeley, AFME</a:t>
                      </a:r>
                    </a:p>
                    <a:p>
                      <a:endParaRPr lang="en-GB" sz="1200" cap="all" baseline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T="0" marB="0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cap="all" baseline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4868278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r>
                        <a:rPr lang="en-GB" sz="1600" cap="all" baseline="0" dirty="0">
                          <a:solidFill>
                            <a:schemeClr val="accent3"/>
                          </a:solidFill>
                          <a:latin typeface="+mj-lt"/>
                        </a:rPr>
                        <a:t>Key Legal Insights</a:t>
                      </a:r>
                    </a:p>
                  </a:txBody>
                  <a:tcPr marL="0" marT="182880" marB="0" anchor="b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cap="all" baseline="0" dirty="0">
                        <a:solidFill>
                          <a:schemeClr val="accent3"/>
                        </a:solidFill>
                        <a:latin typeface="+mj-lt"/>
                      </a:endParaRPr>
                    </a:p>
                  </a:txBody>
                  <a:tcPr marL="0" marT="182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02782725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r>
                        <a:rPr lang="en-GB" sz="1200" cap="all" baseline="0" dirty="0">
                          <a:solidFill>
                            <a:schemeClr val="tx2"/>
                          </a:solidFill>
                          <a:latin typeface="+mj-lt"/>
                        </a:rPr>
                        <a:t>Marco Angheben, EDW</a:t>
                      </a:r>
                    </a:p>
                    <a:p>
                      <a:r>
                        <a:rPr lang="en-GB" sz="1200" cap="all" baseline="0" dirty="0">
                          <a:solidFill>
                            <a:schemeClr val="tx2"/>
                          </a:solidFill>
                          <a:latin typeface="+mj-lt"/>
                        </a:rPr>
                        <a:t>Dr. Oliver </a:t>
                      </a:r>
                      <a:r>
                        <a:rPr lang="en-GB" sz="1200" cap="all" baseline="0" dirty="0" err="1">
                          <a:solidFill>
                            <a:schemeClr val="tx2"/>
                          </a:solidFill>
                          <a:latin typeface="+mj-lt"/>
                        </a:rPr>
                        <a:t>Kronat</a:t>
                      </a:r>
                      <a:r>
                        <a:rPr lang="en-GB" sz="1200" cap="all" baseline="0" dirty="0">
                          <a:solidFill>
                            <a:schemeClr val="tx2"/>
                          </a:solidFill>
                          <a:latin typeface="+mj-lt"/>
                        </a:rPr>
                        <a:t>, Clifford Chance</a:t>
                      </a:r>
                    </a:p>
                    <a:p>
                      <a:endParaRPr lang="en-GB" sz="1200" cap="all" baseline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T="0" marB="0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cap="all" baseline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7840075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r>
                        <a:rPr lang="en-GB" sz="1600" cap="all" baseline="0" dirty="0">
                          <a:solidFill>
                            <a:schemeClr val="accent3"/>
                          </a:solidFill>
                          <a:latin typeface="+mj-lt"/>
                        </a:rPr>
                        <a:t>Conclusion &amp; Next Steps </a:t>
                      </a:r>
                    </a:p>
                  </a:txBody>
                  <a:tcPr marL="0" marT="182880" marB="0" anchor="b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cap="all" baseline="0" dirty="0">
                        <a:solidFill>
                          <a:schemeClr val="accent3"/>
                        </a:solidFill>
                        <a:latin typeface="+mj-lt"/>
                      </a:endParaRPr>
                    </a:p>
                  </a:txBody>
                  <a:tcPr marL="0" marT="182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59218139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r>
                        <a:rPr lang="en-GB" sz="1200" cap="all" baseline="0" dirty="0">
                          <a:solidFill>
                            <a:schemeClr val="tx2"/>
                          </a:solidFill>
                          <a:latin typeface="+mj-lt"/>
                        </a:rPr>
                        <a:t>Dr. Christian Thun, European DataWarehouse </a:t>
                      </a:r>
                    </a:p>
                  </a:txBody>
                  <a:tcPr marL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cap="all" baseline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5474711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422404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8EC52-7C24-19EE-7960-F9C3096F4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n today’s call – small group</a:t>
            </a:r>
            <a:endParaRPr lang="en-GB" dirty="0"/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6D46A899-5E11-B2C6-2463-F3E2AD52D0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455732" y="2168860"/>
            <a:ext cx="2232025" cy="287337"/>
          </a:xfrm>
        </p:spPr>
        <p:txBody>
          <a:bodyPr/>
          <a:lstStyle/>
          <a:p>
            <a:r>
              <a:rPr lang="en-GB" dirty="0"/>
              <a:t>Dr. Christian </a:t>
            </a:r>
            <a:r>
              <a:rPr lang="en-GB" dirty="0" err="1"/>
              <a:t>thun</a:t>
            </a:r>
            <a:endParaRPr lang="en-GB" dirty="0"/>
          </a:p>
          <a:p>
            <a:endParaRPr lang="en-GB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D6EEFD15-56C3-F26B-03AA-7654F8A383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55732" y="2409218"/>
            <a:ext cx="2232025" cy="287337"/>
          </a:xfrm>
        </p:spPr>
        <p:txBody>
          <a:bodyPr/>
          <a:lstStyle/>
          <a:p>
            <a:endParaRPr lang="en-GB"/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EBDD8D06-CF2A-6DAC-02EB-D27446C6A4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55732" y="2671200"/>
            <a:ext cx="2232025" cy="316071"/>
          </a:xfrm>
        </p:spPr>
        <p:txBody>
          <a:bodyPr/>
          <a:lstStyle/>
          <a:p>
            <a:r>
              <a:rPr lang="en-GB" dirty="0" err="1"/>
              <a:t>christian,thun@eurodw.eu</a:t>
            </a:r>
            <a:endParaRPr lang="en-GB" dirty="0"/>
          </a:p>
        </p:txBody>
      </p:sp>
      <p:pic>
        <p:nvPicPr>
          <p:cNvPr id="20" name="Picture Placeholder 19" descr="A person in a suit&#10;&#10;AI-generated content may be incorrect.">
            <a:extLst>
              <a:ext uri="{FF2B5EF4-FFF2-40B4-BE49-F238E27FC236}">
                <a16:creationId xmlns:a16="http://schemas.microsoft.com/office/drawing/2014/main" id="{B266FF25-318A-3E1E-2C2A-A8D2DC35C18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19163" y="2203450"/>
            <a:ext cx="1370012" cy="1370013"/>
          </a:xfrm>
        </p:spPr>
      </p:pic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4F5BC03C-5CE1-7F8F-19D0-EB3A2A47F2F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423421" y="2168860"/>
            <a:ext cx="2232025" cy="287337"/>
          </a:xfrm>
        </p:spPr>
        <p:txBody>
          <a:bodyPr/>
          <a:lstStyle/>
          <a:p>
            <a:r>
              <a:rPr lang="en-GB" dirty="0"/>
              <a:t>Marco Angheben	</a:t>
            </a:r>
          </a:p>
          <a:p>
            <a:endParaRPr lang="en-GB" dirty="0"/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6094BF08-E69A-B358-AE02-82688FB094C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23421" y="2409218"/>
            <a:ext cx="2232025" cy="287337"/>
          </a:xfrm>
        </p:spPr>
        <p:txBody>
          <a:bodyPr/>
          <a:lstStyle/>
          <a:p>
            <a:r>
              <a:rPr lang="en-GB" dirty="0"/>
              <a:t>European </a:t>
            </a:r>
            <a:r>
              <a:rPr lang="en-GB" dirty="0" err="1"/>
              <a:t>datawarehouse</a:t>
            </a:r>
            <a:r>
              <a:rPr lang="en-GB" dirty="0"/>
              <a:t> </a:t>
            </a:r>
          </a:p>
          <a:p>
            <a:endParaRPr lang="en-GB" dirty="0"/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5D8F6A5E-E9DA-ED1F-8A00-9AAA5F6C97C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3421" y="2672618"/>
            <a:ext cx="2232025" cy="287337"/>
          </a:xfrm>
        </p:spPr>
        <p:txBody>
          <a:bodyPr/>
          <a:lstStyle/>
          <a:p>
            <a:r>
              <a:rPr lang="en-GB" dirty="0"/>
              <a:t>marco.angheben@eurodw.eu</a:t>
            </a:r>
          </a:p>
          <a:p>
            <a:endParaRPr lang="en-GB" dirty="0"/>
          </a:p>
        </p:txBody>
      </p:sp>
      <p:pic>
        <p:nvPicPr>
          <p:cNvPr id="22" name="Picture Placeholder 21" descr="A person in a suit and tie&#10;&#10;AI-generated content may be incorrect.">
            <a:extLst>
              <a:ext uri="{FF2B5EF4-FFF2-40B4-BE49-F238E27FC236}">
                <a16:creationId xmlns:a16="http://schemas.microsoft.com/office/drawing/2014/main" id="{C7B602FB-F2E2-1C4D-6611-8DC646E6599A}"/>
              </a:ext>
            </a:extLst>
          </p:cNvPr>
          <p:cNvPicPr>
            <a:picLocks noGrp="1" noChangeAspect="1"/>
          </p:cNvPicPr>
          <p:nvPr>
            <p:ph type="pic" sz="quarter" idx="28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875213" y="2203450"/>
            <a:ext cx="1370012" cy="1370013"/>
          </a:xfrm>
        </p:spPr>
      </p:pic>
      <p:sp>
        <p:nvSpPr>
          <p:cNvPr id="100" name="Date Placeholder 99">
            <a:extLst>
              <a:ext uri="{FF2B5EF4-FFF2-40B4-BE49-F238E27FC236}">
                <a16:creationId xmlns:a16="http://schemas.microsoft.com/office/drawing/2014/main" id="{89B139B1-34EB-DA4E-094D-D45D2515F4E2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101" name="Slide Number Placeholder 100">
            <a:extLst>
              <a:ext uri="{FF2B5EF4-FFF2-40B4-BE49-F238E27FC236}">
                <a16:creationId xmlns:a16="http://schemas.microsoft.com/office/drawing/2014/main" id="{270D103D-8256-7C75-A1F5-43FE459DFA16}"/>
              </a:ext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Text Placeholder 65">
            <a:extLst>
              <a:ext uri="{FF2B5EF4-FFF2-40B4-BE49-F238E27FC236}">
                <a16:creationId xmlns:a16="http://schemas.microsoft.com/office/drawing/2014/main" id="{621D0A06-BAC9-2C6D-7FC5-A458C9B510B7}"/>
              </a:ext>
            </a:extLst>
          </p:cNvPr>
          <p:cNvSpPr txBox="1">
            <a:spLocks/>
          </p:cNvSpPr>
          <p:nvPr/>
        </p:nvSpPr>
        <p:spPr>
          <a:xfrm>
            <a:off x="4298409" y="4463954"/>
            <a:ext cx="2232025" cy="315912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Tx/>
              <a:buNone/>
              <a:defRPr sz="100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8" name="Text Placeholder 24">
            <a:extLst>
              <a:ext uri="{FF2B5EF4-FFF2-40B4-BE49-F238E27FC236}">
                <a16:creationId xmlns:a16="http://schemas.microsoft.com/office/drawing/2014/main" id="{90FCF740-49FF-742B-9B36-722D69E94B2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455732" y="4006511"/>
            <a:ext cx="2232025" cy="287337"/>
          </a:xfrm>
        </p:spPr>
        <p:txBody>
          <a:bodyPr/>
          <a:lstStyle/>
          <a:p>
            <a:r>
              <a:rPr lang="en-GB" dirty="0"/>
              <a:t>AFME</a:t>
            </a:r>
          </a:p>
        </p:txBody>
      </p:sp>
      <p:sp>
        <p:nvSpPr>
          <p:cNvPr id="11" name="Text Placeholder 75">
            <a:extLst>
              <a:ext uri="{FF2B5EF4-FFF2-40B4-BE49-F238E27FC236}">
                <a16:creationId xmlns:a16="http://schemas.microsoft.com/office/drawing/2014/main" id="{B9438C6E-DEEF-EA99-9DF6-9420A095ABB7}"/>
              </a:ext>
            </a:extLst>
          </p:cNvPr>
          <p:cNvSpPr txBox="1">
            <a:spLocks/>
          </p:cNvSpPr>
          <p:nvPr/>
        </p:nvSpPr>
        <p:spPr>
          <a:xfrm>
            <a:off x="7605172" y="3960716"/>
            <a:ext cx="2232025" cy="287338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Tx/>
              <a:buNone/>
              <a:defRPr sz="1400" kern="1200" cap="all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2" name="Text Placeholder 76">
            <a:extLst>
              <a:ext uri="{FF2B5EF4-FFF2-40B4-BE49-F238E27FC236}">
                <a16:creationId xmlns:a16="http://schemas.microsoft.com/office/drawing/2014/main" id="{5BEC2472-7116-9640-8FE3-CBCBC7C21FE3}"/>
              </a:ext>
            </a:extLst>
          </p:cNvPr>
          <p:cNvSpPr txBox="1">
            <a:spLocks/>
          </p:cNvSpPr>
          <p:nvPr/>
        </p:nvSpPr>
        <p:spPr>
          <a:xfrm>
            <a:off x="7605172" y="4202016"/>
            <a:ext cx="2232025" cy="287338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Tx/>
              <a:buNone/>
              <a:defRPr sz="1400" kern="1200" cap="all" baseline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3" name="Text Placeholder 63">
            <a:extLst>
              <a:ext uri="{FF2B5EF4-FFF2-40B4-BE49-F238E27FC236}">
                <a16:creationId xmlns:a16="http://schemas.microsoft.com/office/drawing/2014/main" id="{837618CC-75B0-B978-47F0-54812D70EFF8}"/>
              </a:ext>
            </a:extLst>
          </p:cNvPr>
          <p:cNvSpPr txBox="1">
            <a:spLocks/>
          </p:cNvSpPr>
          <p:nvPr/>
        </p:nvSpPr>
        <p:spPr>
          <a:xfrm>
            <a:off x="2455732" y="3753876"/>
            <a:ext cx="2232025" cy="287337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Tx/>
              <a:buNone/>
              <a:defRPr sz="1400" kern="1200" cap="all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Shaun Baddeley</a:t>
            </a:r>
          </a:p>
        </p:txBody>
      </p:sp>
      <p:sp>
        <p:nvSpPr>
          <p:cNvPr id="24" name="Text Placeholder 65">
            <a:extLst>
              <a:ext uri="{FF2B5EF4-FFF2-40B4-BE49-F238E27FC236}">
                <a16:creationId xmlns:a16="http://schemas.microsoft.com/office/drawing/2014/main" id="{E500A34A-7A28-8561-361C-6B95C63CF6E2}"/>
              </a:ext>
            </a:extLst>
          </p:cNvPr>
          <p:cNvSpPr txBox="1">
            <a:spLocks/>
          </p:cNvSpPr>
          <p:nvPr/>
        </p:nvSpPr>
        <p:spPr>
          <a:xfrm>
            <a:off x="2455732" y="4256216"/>
            <a:ext cx="2232025" cy="316071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Tx/>
              <a:buNone/>
              <a:defRPr sz="100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shaun.baddeley@afme.eu</a:t>
            </a:r>
          </a:p>
        </p:txBody>
      </p:sp>
      <p:pic>
        <p:nvPicPr>
          <p:cNvPr id="25" name="Picture Placeholder 19">
            <a:extLst>
              <a:ext uri="{FF2B5EF4-FFF2-40B4-BE49-F238E27FC236}">
                <a16:creationId xmlns:a16="http://schemas.microsoft.com/office/drawing/2014/main" id="{B6F64EB0-D75A-0F53-D9F6-F7296EF857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9163" y="3788466"/>
            <a:ext cx="1370012" cy="1370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</p:pic>
      <p:sp>
        <p:nvSpPr>
          <p:cNvPr id="26" name="Text Placeholder 75">
            <a:extLst>
              <a:ext uri="{FF2B5EF4-FFF2-40B4-BE49-F238E27FC236}">
                <a16:creationId xmlns:a16="http://schemas.microsoft.com/office/drawing/2014/main" id="{93DFE5C4-EBB8-46B8-AD9A-E666F465B79C}"/>
              </a:ext>
            </a:extLst>
          </p:cNvPr>
          <p:cNvSpPr txBox="1">
            <a:spLocks/>
          </p:cNvSpPr>
          <p:nvPr/>
        </p:nvSpPr>
        <p:spPr>
          <a:xfrm>
            <a:off x="6423421" y="3753876"/>
            <a:ext cx="2232025" cy="287337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Tx/>
              <a:buNone/>
              <a:defRPr sz="1400" kern="1200" cap="all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Oliver </a:t>
            </a:r>
            <a:r>
              <a:rPr lang="en-GB" dirty="0" err="1"/>
              <a:t>kronat</a:t>
            </a:r>
            <a:endParaRPr lang="en-GB" dirty="0"/>
          </a:p>
          <a:p>
            <a:endParaRPr lang="en-GB" dirty="0"/>
          </a:p>
        </p:txBody>
      </p:sp>
      <p:sp>
        <p:nvSpPr>
          <p:cNvPr id="27" name="Text Placeholder 76">
            <a:extLst>
              <a:ext uri="{FF2B5EF4-FFF2-40B4-BE49-F238E27FC236}">
                <a16:creationId xmlns:a16="http://schemas.microsoft.com/office/drawing/2014/main" id="{561D7811-D29D-6429-0C10-59E0ED12A4FA}"/>
              </a:ext>
            </a:extLst>
          </p:cNvPr>
          <p:cNvSpPr txBox="1">
            <a:spLocks/>
          </p:cNvSpPr>
          <p:nvPr/>
        </p:nvSpPr>
        <p:spPr>
          <a:xfrm>
            <a:off x="6423421" y="3994234"/>
            <a:ext cx="2232025" cy="287337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Tx/>
              <a:buNone/>
              <a:defRPr sz="1400" kern="1200" cap="all" baseline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Clifford chance</a:t>
            </a:r>
          </a:p>
          <a:p>
            <a:endParaRPr lang="en-GB" dirty="0"/>
          </a:p>
        </p:txBody>
      </p:sp>
      <p:sp>
        <p:nvSpPr>
          <p:cNvPr id="28" name="Text Placeholder 77">
            <a:extLst>
              <a:ext uri="{FF2B5EF4-FFF2-40B4-BE49-F238E27FC236}">
                <a16:creationId xmlns:a16="http://schemas.microsoft.com/office/drawing/2014/main" id="{8B208F9A-7E85-E7FE-B4CD-4286C01637DF}"/>
              </a:ext>
            </a:extLst>
          </p:cNvPr>
          <p:cNvSpPr txBox="1">
            <a:spLocks/>
          </p:cNvSpPr>
          <p:nvPr/>
        </p:nvSpPr>
        <p:spPr>
          <a:xfrm>
            <a:off x="6423421" y="4257634"/>
            <a:ext cx="2232025" cy="287337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Tx/>
              <a:buNone/>
              <a:defRPr sz="100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oliver.kronat@cliffordchance.com</a:t>
            </a:r>
          </a:p>
          <a:p>
            <a:endParaRPr lang="en-GB" dirty="0"/>
          </a:p>
        </p:txBody>
      </p:sp>
      <p:pic>
        <p:nvPicPr>
          <p:cNvPr id="29" name="Picture Placeholder 21">
            <a:extLst>
              <a:ext uri="{FF2B5EF4-FFF2-40B4-BE49-F238E27FC236}">
                <a16:creationId xmlns:a16="http://schemas.microsoft.com/office/drawing/2014/main" id="{A8639AD9-6453-E5F5-CE44-5F0A879777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75213" y="3788466"/>
            <a:ext cx="1370012" cy="1370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20927979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5AAE78-F676-5ED6-40C8-25897E3F1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test Developments in EU and UK Sec. Regul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988A78-FF58-6154-9C02-38C8060611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420" y="3041856"/>
            <a:ext cx="10441355" cy="1395256"/>
          </a:xfrm>
        </p:spPr>
        <p:txBody>
          <a:bodyPr/>
          <a:lstStyle/>
          <a:p>
            <a:r>
              <a:rPr lang="en-GB" dirty="0"/>
              <a:t>Dr. Christian Thun, EDW</a:t>
            </a:r>
          </a:p>
          <a:p>
            <a:r>
              <a:rPr lang="en-GB" dirty="0"/>
              <a:t>Shaun Baddeley, AFME</a:t>
            </a:r>
          </a:p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2BDFDB-21D5-4246-3313-28F60B570A7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72903F-97DB-7DBA-1DA9-B1EABBC9B2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05775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01707D-1366-392B-864B-3E54737DC1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914B81-4E24-5C8B-B64E-36B9FB915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entative Timeline for new securitisation framework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B25746-8BA4-65EC-C745-756AACCD6E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ssumed adaption from 2027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4747D04-A889-0949-595E-C06E47262136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956133" y="6047728"/>
            <a:ext cx="684483" cy="153888"/>
          </a:xfrm>
        </p:spPr>
        <p:txBody>
          <a:bodyPr/>
          <a:lstStyle/>
          <a:p>
            <a:r>
              <a:rPr lang="en-US" dirty="0"/>
              <a:t>DECEMBER 202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1B961C-7104-D079-DF45-345F18DF1AD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8343837-B93A-1EBD-59E0-4CDEA8579DBA}"/>
              </a:ext>
            </a:extLst>
          </p:cNvPr>
          <p:cNvSpPr/>
          <p:nvPr/>
        </p:nvSpPr>
        <p:spPr>
          <a:xfrm>
            <a:off x="1109115" y="3729337"/>
            <a:ext cx="2521591" cy="25391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5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7089884-60C1-1E0F-9FB2-1EDBBB044F3C}"/>
              </a:ext>
            </a:extLst>
          </p:cNvPr>
          <p:cNvSpPr/>
          <p:nvPr/>
        </p:nvSpPr>
        <p:spPr>
          <a:xfrm>
            <a:off x="3714844" y="3729337"/>
            <a:ext cx="3420000" cy="25391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6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1EF8FD5-BE65-56EF-FB74-03D02D37C1DB}"/>
              </a:ext>
            </a:extLst>
          </p:cNvPr>
          <p:cNvSpPr/>
          <p:nvPr/>
        </p:nvSpPr>
        <p:spPr>
          <a:xfrm>
            <a:off x="7214236" y="3717671"/>
            <a:ext cx="3420000" cy="25391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7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703A4FA-81A8-9A88-CB50-B968466CE80E}"/>
              </a:ext>
            </a:extLst>
          </p:cNvPr>
          <p:cNvSpPr/>
          <p:nvPr/>
        </p:nvSpPr>
        <p:spPr>
          <a:xfrm>
            <a:off x="717645" y="2233811"/>
            <a:ext cx="1355195" cy="70389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U Commission publishes legislative proposal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BE89604-8CB7-C753-F5EB-292DF4D1B7D5}"/>
              </a:ext>
            </a:extLst>
          </p:cNvPr>
          <p:cNvSpPr/>
          <p:nvPr/>
        </p:nvSpPr>
        <p:spPr>
          <a:xfrm>
            <a:off x="2072841" y="3386969"/>
            <a:ext cx="2799024" cy="2880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U Parliament formulates opinion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AE2BBD0-6D4C-2076-0E00-4FE06F540FAA}"/>
              </a:ext>
            </a:extLst>
          </p:cNvPr>
          <p:cNvSpPr/>
          <p:nvPr/>
        </p:nvSpPr>
        <p:spPr>
          <a:xfrm>
            <a:off x="5235580" y="2971077"/>
            <a:ext cx="1848865" cy="70389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ilogue discussion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140F73C-8715-CFA8-87AD-239A4E5F7420}"/>
              </a:ext>
            </a:extLst>
          </p:cNvPr>
          <p:cNvSpPr/>
          <p:nvPr/>
        </p:nvSpPr>
        <p:spPr>
          <a:xfrm>
            <a:off x="7347503" y="2612449"/>
            <a:ext cx="940328" cy="42141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ublication in OJ 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CAAC97E-A7DE-E78B-77CB-0770C4D1F594}"/>
              </a:ext>
            </a:extLst>
          </p:cNvPr>
          <p:cNvSpPr/>
          <p:nvPr/>
        </p:nvSpPr>
        <p:spPr>
          <a:xfrm>
            <a:off x="8343455" y="2340243"/>
            <a:ext cx="1355195" cy="70389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ew Securitisation Framework applies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50DBDC6-4194-A1D0-19F0-CE25633ECA87}"/>
              </a:ext>
            </a:extLst>
          </p:cNvPr>
          <p:cNvCxnSpPr>
            <a:cxnSpLocks/>
            <a:stCxn id="15" idx="2"/>
          </p:cNvCxnSpPr>
          <p:nvPr/>
        </p:nvCxnSpPr>
        <p:spPr>
          <a:xfrm>
            <a:off x="7817667" y="3033868"/>
            <a:ext cx="919" cy="6548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778ABA61-A80A-AB3E-4173-C9B51552FEE5}"/>
              </a:ext>
            </a:extLst>
          </p:cNvPr>
          <p:cNvCxnSpPr>
            <a:stCxn id="12" idx="2"/>
          </p:cNvCxnSpPr>
          <p:nvPr/>
        </p:nvCxnSpPr>
        <p:spPr>
          <a:xfrm flipH="1">
            <a:off x="1387040" y="2937703"/>
            <a:ext cx="8203" cy="7527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BEDBBB94-DED0-B53A-B067-6213C77BDB47}"/>
              </a:ext>
            </a:extLst>
          </p:cNvPr>
          <p:cNvSpPr txBox="1"/>
          <p:nvPr/>
        </p:nvSpPr>
        <p:spPr>
          <a:xfrm>
            <a:off x="1030624" y="4037621"/>
            <a:ext cx="68640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7 June 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FBEAE73-6023-B22F-613E-8B3BB232C476}"/>
              </a:ext>
            </a:extLst>
          </p:cNvPr>
          <p:cNvSpPr/>
          <p:nvPr/>
        </p:nvSpPr>
        <p:spPr>
          <a:xfrm>
            <a:off x="1473510" y="3044135"/>
            <a:ext cx="2421470" cy="2880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U Council formulates opinion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21F02BBA-8595-50E5-1E11-775A74983E83}"/>
              </a:ext>
            </a:extLst>
          </p:cNvPr>
          <p:cNvSpPr/>
          <p:nvPr/>
        </p:nvSpPr>
        <p:spPr>
          <a:xfrm>
            <a:off x="10713628" y="3729337"/>
            <a:ext cx="828000" cy="25391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8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A1F1018-4B53-7E5D-0B48-321A6614E558}"/>
              </a:ext>
            </a:extLst>
          </p:cNvPr>
          <p:cNvCxnSpPr>
            <a:cxnSpLocks/>
            <a:stCxn id="16" idx="2"/>
          </p:cNvCxnSpPr>
          <p:nvPr/>
        </p:nvCxnSpPr>
        <p:spPr>
          <a:xfrm>
            <a:off x="9021053" y="3044135"/>
            <a:ext cx="0" cy="6308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2252939E-4719-77CD-94B0-771F5005AF73}"/>
              </a:ext>
            </a:extLst>
          </p:cNvPr>
          <p:cNvSpPr/>
          <p:nvPr/>
        </p:nvSpPr>
        <p:spPr>
          <a:xfrm>
            <a:off x="8287831" y="3251738"/>
            <a:ext cx="2709531" cy="2880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As work on templates</a:t>
            </a:r>
          </a:p>
        </p:txBody>
      </p:sp>
      <p:sp>
        <p:nvSpPr>
          <p:cNvPr id="23" name="Call-out: Double Bent Line with No Border 22">
            <a:extLst>
              <a:ext uri="{FF2B5EF4-FFF2-40B4-BE49-F238E27FC236}">
                <a16:creationId xmlns:a16="http://schemas.microsoft.com/office/drawing/2014/main" id="{3CBA7C0A-C372-A0C3-8745-EC4CC7C8C114}"/>
              </a:ext>
            </a:extLst>
          </p:cNvPr>
          <p:cNvSpPr/>
          <p:nvPr/>
        </p:nvSpPr>
        <p:spPr>
          <a:xfrm>
            <a:off x="3894980" y="5445224"/>
            <a:ext cx="914400" cy="612648"/>
          </a:xfrm>
          <a:prstGeom prst="callout3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8AABD1C-529B-CBDE-8FC8-227C0E185521}"/>
              </a:ext>
            </a:extLst>
          </p:cNvPr>
          <p:cNvSpPr txBox="1"/>
          <p:nvPr/>
        </p:nvSpPr>
        <p:spPr>
          <a:xfrm>
            <a:off x="1687568" y="4274834"/>
            <a:ext cx="1227434" cy="395869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/>
            <a:r>
              <a:rPr lang="en-GB" sz="1050" dirty="0">
                <a:solidFill>
                  <a:schemeClr val="tx2"/>
                </a:solidFill>
              </a:rPr>
              <a:t>13 Oct: EP public </a:t>
            </a:r>
          </a:p>
          <a:p>
            <a:pPr algn="ctr"/>
            <a:r>
              <a:rPr lang="en-GB" sz="1050" dirty="0">
                <a:solidFill>
                  <a:schemeClr val="tx2"/>
                </a:solidFill>
              </a:rPr>
              <a:t>hearing  in EC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DB3F8DE-ABD8-CAA2-ADE4-359510766544}"/>
              </a:ext>
            </a:extLst>
          </p:cNvPr>
          <p:cNvSpPr txBox="1"/>
          <p:nvPr/>
        </p:nvSpPr>
        <p:spPr>
          <a:xfrm>
            <a:off x="2566079" y="4761323"/>
            <a:ext cx="1540019" cy="395869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tx2"/>
                </a:solidFill>
              </a:defRPr>
            </a:lvl1pPr>
          </a:lstStyle>
          <a:p>
            <a:pPr algn="ctr"/>
            <a:r>
              <a:rPr lang="en-GB" dirty="0"/>
              <a:t>15 Dec: Publication of </a:t>
            </a:r>
          </a:p>
          <a:p>
            <a:pPr algn="ctr"/>
            <a:r>
              <a:rPr lang="en-GB" dirty="0"/>
              <a:t>EP draft repor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01AD985-E29D-738B-B03C-940A6218A571}"/>
              </a:ext>
            </a:extLst>
          </p:cNvPr>
          <p:cNvSpPr txBox="1"/>
          <p:nvPr/>
        </p:nvSpPr>
        <p:spPr>
          <a:xfrm>
            <a:off x="3503712" y="4257267"/>
            <a:ext cx="1131254" cy="395869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15 Jan: EP draft </a:t>
            </a:r>
          </a:p>
          <a:p>
            <a:r>
              <a:rPr lang="en-GB" dirty="0"/>
              <a:t>report in EC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AB6ED5C-6A8C-90C9-B151-A67DF4E1728B}"/>
              </a:ext>
            </a:extLst>
          </p:cNvPr>
          <p:cNvSpPr txBox="1"/>
          <p:nvPr/>
        </p:nvSpPr>
        <p:spPr>
          <a:xfrm>
            <a:off x="4180435" y="4767843"/>
            <a:ext cx="1257890" cy="395869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tx2"/>
                </a:solidFill>
              </a:defRPr>
            </a:lvl1pPr>
          </a:lstStyle>
          <a:p>
            <a:pPr algn="ctr"/>
            <a:r>
              <a:rPr lang="en-GB" dirty="0"/>
              <a:t>5 May: EP Vote in </a:t>
            </a:r>
          </a:p>
          <a:p>
            <a:pPr algn="ctr"/>
            <a:r>
              <a:rPr lang="en-GB" dirty="0"/>
              <a:t>ECON committee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5A807AE3-027D-4EB3-248C-F15B1EBCF76E}"/>
              </a:ext>
            </a:extLst>
          </p:cNvPr>
          <p:cNvCxnSpPr>
            <a:cxnSpLocks/>
          </p:cNvCxnSpPr>
          <p:nvPr/>
        </p:nvCxnSpPr>
        <p:spPr>
          <a:xfrm>
            <a:off x="2279576" y="4037621"/>
            <a:ext cx="0" cy="253916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5F9F28D0-5F19-3815-9331-CB93B4F94975}"/>
              </a:ext>
            </a:extLst>
          </p:cNvPr>
          <p:cNvCxnSpPr>
            <a:cxnSpLocks/>
          </p:cNvCxnSpPr>
          <p:nvPr/>
        </p:nvCxnSpPr>
        <p:spPr>
          <a:xfrm>
            <a:off x="3431704" y="4020918"/>
            <a:ext cx="0" cy="747062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69D9887-CC70-1F85-51D5-F129FB46CFA9}"/>
              </a:ext>
            </a:extLst>
          </p:cNvPr>
          <p:cNvCxnSpPr>
            <a:cxnSpLocks/>
          </p:cNvCxnSpPr>
          <p:nvPr/>
        </p:nvCxnSpPr>
        <p:spPr>
          <a:xfrm>
            <a:off x="3791744" y="4020918"/>
            <a:ext cx="0" cy="253916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DF6A53FD-1680-DBC5-664B-9DC2A43198E5}"/>
              </a:ext>
            </a:extLst>
          </p:cNvPr>
          <p:cNvCxnSpPr>
            <a:cxnSpLocks/>
          </p:cNvCxnSpPr>
          <p:nvPr/>
        </p:nvCxnSpPr>
        <p:spPr>
          <a:xfrm>
            <a:off x="4809380" y="4004559"/>
            <a:ext cx="0" cy="747062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60275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53EB55-AAAC-DE80-2CF8-A5B439B0D7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0821CB-B8B5-DAB4-619E-CE97B6B8FD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Legal Insigh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2723EA-06A3-1842-4884-86065223BB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420" y="3041856"/>
            <a:ext cx="10441355" cy="1395256"/>
          </a:xfrm>
        </p:spPr>
        <p:txBody>
          <a:bodyPr/>
          <a:lstStyle/>
          <a:p>
            <a:r>
              <a:rPr lang="en-GB" dirty="0"/>
              <a:t>Marco Angheben, EDW</a:t>
            </a:r>
          </a:p>
          <a:p>
            <a:r>
              <a:rPr lang="en-GB" dirty="0"/>
              <a:t>Dr. Oliver </a:t>
            </a:r>
            <a:r>
              <a:rPr lang="en-GB" dirty="0" err="1"/>
              <a:t>Kronat</a:t>
            </a:r>
            <a:r>
              <a:rPr lang="en-GB" dirty="0"/>
              <a:t>, Clifford Chanc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31D619-D111-8062-F412-1E5F75B9B2A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DACFF4-C184-7ECD-F2EC-095B606922A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58505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AF6D8E-F461-3A3A-C8B6-2C5EE924DC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D8BA31-6013-6443-958E-724657D5E7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 &amp; Next Step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0CEC09-6FC9-7011-751C-84FE2FC423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420" y="3041856"/>
            <a:ext cx="10441355" cy="1395256"/>
          </a:xfrm>
        </p:spPr>
        <p:txBody>
          <a:bodyPr/>
          <a:lstStyle/>
          <a:p>
            <a:r>
              <a:rPr lang="en-GB" dirty="0"/>
              <a:t>Dr. Christian Thun, EDW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22734E-4319-1FFB-A100-9DA043E83B9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DECEMBER 2025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721181-A1CD-B234-2364-6FC118F046C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C38C403-C66A-4AC9-A1C8-BC542D1294E4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77280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A close-up of a building&#10;&#10;Description automatically generated">
            <a:extLst>
              <a:ext uri="{FF2B5EF4-FFF2-40B4-BE49-F238E27FC236}">
                <a16:creationId xmlns:a16="http://schemas.microsoft.com/office/drawing/2014/main" id="{E472183A-CE0E-042A-7B5A-FBEE7B9FB6A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" b="4"/>
          <a:stretch/>
        </p:blipFill>
        <p:spPr>
          <a:xfrm>
            <a:off x="263525" y="260350"/>
            <a:ext cx="11664950" cy="6337002"/>
          </a:xfr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07A2E179-FD80-8AEB-BC77-261E1BEB8B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800" y="1772816"/>
            <a:ext cx="10508649" cy="1656184"/>
          </a:xfrm>
        </p:spPr>
        <p:txBody>
          <a:bodyPr/>
          <a:lstStyle/>
          <a:p>
            <a:r>
              <a:rPr lang="en-GB" dirty="0"/>
              <a:t>Q&amp;A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ADA1BE7-AD83-F40E-8A8C-73474316BF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9200" y="0"/>
            <a:ext cx="32400" cy="3420000"/>
          </a:xfrm>
        </p:spPr>
        <p:txBody>
          <a:bodyPr/>
          <a:lstStyle/>
          <a:p>
            <a:r>
              <a:rPr lang="en-GB"/>
              <a:t> 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48786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European Datawarehouse">
  <a:themeElements>
    <a:clrScheme name="EDW_colors">
      <a:dk1>
        <a:sysClr val="windowText" lastClr="000000"/>
      </a:dk1>
      <a:lt1>
        <a:sysClr val="window" lastClr="FFFFFF"/>
      </a:lt1>
      <a:dk2>
        <a:srgbClr val="203864"/>
      </a:dk2>
      <a:lt2>
        <a:srgbClr val="F7F7F7"/>
      </a:lt2>
      <a:accent1>
        <a:srgbClr val="203864"/>
      </a:accent1>
      <a:accent2>
        <a:srgbClr val="989898"/>
      </a:accent2>
      <a:accent3>
        <a:srgbClr val="E34630"/>
      </a:accent3>
      <a:accent4>
        <a:srgbClr val="647390"/>
      </a:accent4>
      <a:accent5>
        <a:srgbClr val="BEBEBE"/>
      </a:accent5>
      <a:accent6>
        <a:srgbClr val="A5ADBF"/>
      </a:accent6>
      <a:hlink>
        <a:srgbClr val="203864"/>
      </a:hlink>
      <a:folHlink>
        <a:srgbClr val="E34630"/>
      </a:folHlink>
    </a:clrScheme>
    <a:fontScheme name="EDW_fonts">
      <a:majorFont>
        <a:latin typeface="DIN Next LT Pro Condensed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4-10-07_EDW_Presentation-Template_EN.potx" id="{199B963A-B86A-4901-803E-FDDF9FCCF0DE}" vid="{8FEA883E-BFD0-4794-9F24-A2B330DE2CA8}"/>
    </a:ext>
  </a:extLst>
</a:theme>
</file>

<file path=ppt/theme/theme2.xml><?xml version="1.0" encoding="utf-8"?>
<a:theme xmlns:a="http://schemas.openxmlformats.org/drawingml/2006/main" name="Office Theme">
  <a:themeElements>
    <a:clrScheme name="Berliner Wasserbetriebe">
      <a:dk1>
        <a:srgbClr val="333333"/>
      </a:dk1>
      <a:lt1>
        <a:sysClr val="window" lastClr="FFFFFF"/>
      </a:lt1>
      <a:dk2>
        <a:srgbClr val="00487E"/>
      </a:dk2>
      <a:lt2>
        <a:srgbClr val="E3EBFA"/>
      </a:lt2>
      <a:accent1>
        <a:srgbClr val="0072C6"/>
      </a:accent1>
      <a:accent2>
        <a:srgbClr val="8AB925"/>
      </a:accent2>
      <a:accent3>
        <a:srgbClr val="6F6D60"/>
      </a:accent3>
      <a:accent4>
        <a:srgbClr val="B4CBEE"/>
      </a:accent4>
      <a:accent5>
        <a:srgbClr val="D2EA98"/>
      </a:accent5>
      <a:accent6>
        <a:srgbClr val="C6C5BA"/>
      </a:accent6>
      <a:hlink>
        <a:srgbClr val="5485C8"/>
      </a:hlink>
      <a:folHlink>
        <a:srgbClr val="9DBC4C"/>
      </a:folHlink>
    </a:clrScheme>
    <a:fontScheme name="EDW_fonts">
      <a:majorFont>
        <a:latin typeface="DIN Next LT Pro Condensed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EDW_colors">
      <a:dk1>
        <a:sysClr val="windowText" lastClr="000000"/>
      </a:dk1>
      <a:lt1>
        <a:sysClr val="window" lastClr="FFFFFF"/>
      </a:lt1>
      <a:dk2>
        <a:srgbClr val="203864"/>
      </a:dk2>
      <a:lt2>
        <a:srgbClr val="989898"/>
      </a:lt2>
      <a:accent1>
        <a:srgbClr val="203864"/>
      </a:accent1>
      <a:accent2>
        <a:srgbClr val="989898"/>
      </a:accent2>
      <a:accent3>
        <a:srgbClr val="E34630"/>
      </a:accent3>
      <a:accent4>
        <a:srgbClr val="647390"/>
      </a:accent4>
      <a:accent5>
        <a:srgbClr val="BEBEBE"/>
      </a:accent5>
      <a:accent6>
        <a:srgbClr val="A5ADBF"/>
      </a:accent6>
      <a:hlink>
        <a:srgbClr val="203864"/>
      </a:hlink>
      <a:folHlink>
        <a:srgbClr val="E34630"/>
      </a:folHlink>
    </a:clrScheme>
    <a:fontScheme name="EDW_fonts">
      <a:majorFont>
        <a:latin typeface="DIN Next LT Pro Condensed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cf76f155ced4ddcb4097134ff3c332f xmlns="d6d4c951-76ca-4794-90d2-30fa7fe06f51">
      <Terms xmlns="http://schemas.microsoft.com/office/infopath/2007/PartnerControls"/>
    </lcf76f155ced4ddcb4097134ff3c332f>
    <TaxCatchAll xmlns="cac403a8-d221-409d-a504-93300138738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26FEBB4F6DF4459AACF9A30D6AA38E" ma:contentTypeVersion="20" ma:contentTypeDescription="Create a new document." ma:contentTypeScope="" ma:versionID="139b4d60c0131241def1afb69d162f6f">
  <xsd:schema xmlns:xsd="http://www.w3.org/2001/XMLSchema" xmlns:xs="http://www.w3.org/2001/XMLSchema" xmlns:p="http://schemas.microsoft.com/office/2006/metadata/properties" xmlns:ns1="http://schemas.microsoft.com/sharepoint/v3" xmlns:ns2="d6d4c951-76ca-4794-90d2-30fa7fe06f51" xmlns:ns3="cac403a8-d221-409d-a504-933001387381" targetNamespace="http://schemas.microsoft.com/office/2006/metadata/properties" ma:root="true" ma:fieldsID="9dba330d876dca4934e51e32faf14154" ns1:_="" ns2:_="" ns3:_="">
    <xsd:import namespace="http://schemas.microsoft.com/sharepoint/v3"/>
    <xsd:import namespace="d6d4c951-76ca-4794-90d2-30fa7fe06f51"/>
    <xsd:import namespace="cac403a8-d221-409d-a504-93300138738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1:_ip_UnifiedCompliancePolicyProperties" minOccurs="0"/>
                <xsd:element ref="ns1:_ip_UnifiedCompliancePolicyUIAction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d4c951-76ca-4794-90d2-30fa7fe06f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cffcc009-eb23-4cec-924e-3399eb25340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6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c403a8-d221-409d-a504-93300138738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a5399e49-f497-4460-9630-7629e4e4df76}" ma:internalName="TaxCatchAll" ma:showField="CatchAllData" ma:web="cac403a8-d221-409d-a504-9330013873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DFF3C6C-6925-4585-81AE-B5A394D5BD2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445ACBB-24F3-41F1-A6E4-FF0DB5D0C78A}">
  <ds:schemaRefs>
    <ds:schemaRef ds:uri="http://schemas.microsoft.com/office/2006/documentManagement/types"/>
    <ds:schemaRef ds:uri="http://schemas.openxmlformats.org/package/2006/metadata/core-properties"/>
    <ds:schemaRef ds:uri="52527c23-cf11-4735-8368-b2bc673e7f48"/>
    <ds:schemaRef ds:uri="http://purl.org/dc/dcmitype/"/>
    <ds:schemaRef ds:uri="http://purl.org/dc/elements/1.1/"/>
    <ds:schemaRef ds:uri="http://schemas.microsoft.com/office/infopath/2007/PartnerControls"/>
    <ds:schemaRef ds:uri="http://schemas.microsoft.com/office/2006/metadata/properties"/>
    <ds:schemaRef ds:uri="2af339f9-cb64-4394-bf93-98d14a0ee8a7"/>
    <ds:schemaRef ds:uri="http://www.w3.org/XML/1998/namespace"/>
    <ds:schemaRef ds:uri="http://purl.org/dc/terms/"/>
    <ds:schemaRef ds:uri="http://schemas.microsoft.com/sharepoint/v3"/>
    <ds:schemaRef ds:uri="d6d4c951-76ca-4794-90d2-30fa7fe06f51"/>
    <ds:schemaRef ds:uri="cac403a8-d221-409d-a504-933001387381"/>
  </ds:schemaRefs>
</ds:datastoreItem>
</file>

<file path=customXml/itemProps3.xml><?xml version="1.0" encoding="utf-8"?>
<ds:datastoreItem xmlns:ds="http://schemas.openxmlformats.org/officeDocument/2006/customXml" ds:itemID="{AA482DEC-389C-4091-842D-22D07A92932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6d4c951-76ca-4794-90d2-30fa7fe06f51"/>
    <ds:schemaRef ds:uri="cac403a8-d221-409d-a504-9330013873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4-10-07_EDW_Presentation-Template_EN</Template>
  <TotalTime>56</TotalTime>
  <Words>277</Words>
  <Application>Microsoft Office PowerPoint</Application>
  <PresentationFormat>Widescreen</PresentationFormat>
  <Paragraphs>85</Paragraphs>
  <Slides>12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Aptos</vt:lpstr>
      <vt:lpstr>DIN Next LT Pro Condensed</vt:lpstr>
      <vt:lpstr>Open Sans</vt:lpstr>
      <vt:lpstr>European Datawarehouse</vt:lpstr>
      <vt:lpstr>PowerPoint Presentation</vt:lpstr>
      <vt:lpstr>Regulatory Roundtable: Updates and Outlook</vt:lpstr>
      <vt:lpstr>Agenda</vt:lpstr>
      <vt:lpstr>On today’s call – small group</vt:lpstr>
      <vt:lpstr>Latest Developments in EU and UK Sec. Regulation</vt:lpstr>
      <vt:lpstr>Tentative Timeline for new securitisation framework</vt:lpstr>
      <vt:lpstr>Key Legal Insights</vt:lpstr>
      <vt:lpstr>Conclusion &amp; Next Steps </vt:lpstr>
      <vt:lpstr>Q&amp;A</vt:lpstr>
      <vt:lpstr>Upcoming events: H1 2026</vt:lpstr>
      <vt:lpstr>Thank You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Ute Simon</dc:creator>
  <cp:lastModifiedBy>Dr. Christian Thun</cp:lastModifiedBy>
  <cp:revision>13</cp:revision>
  <dcterms:created xsi:type="dcterms:W3CDTF">2024-10-10T11:10:34Z</dcterms:created>
  <dcterms:modified xsi:type="dcterms:W3CDTF">2025-12-17T13:53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26FEBB4F6DF4459AACF9A30D6AA38E</vt:lpwstr>
  </property>
  <property fmtid="{D5CDD505-2E9C-101B-9397-08002B2CF9AE}" pid="3" name="MSIP_Label_34c3a00a-07a8-4861-b5b8-6bcc3811d967_Enabled">
    <vt:lpwstr>true</vt:lpwstr>
  </property>
  <property fmtid="{D5CDD505-2E9C-101B-9397-08002B2CF9AE}" pid="4" name="MSIP_Label_34c3a00a-07a8-4861-b5b8-6bcc3811d967_SetDate">
    <vt:lpwstr>2024-10-15T07:52:55Z</vt:lpwstr>
  </property>
  <property fmtid="{D5CDD505-2E9C-101B-9397-08002B2CF9AE}" pid="5" name="MSIP_Label_34c3a00a-07a8-4861-b5b8-6bcc3811d967_Method">
    <vt:lpwstr>Privileged</vt:lpwstr>
  </property>
  <property fmtid="{D5CDD505-2E9C-101B-9397-08002B2CF9AE}" pid="6" name="MSIP_Label_34c3a00a-07a8-4861-b5b8-6bcc3811d967_Name">
    <vt:lpwstr>Public</vt:lpwstr>
  </property>
  <property fmtid="{D5CDD505-2E9C-101B-9397-08002B2CF9AE}" pid="7" name="MSIP_Label_34c3a00a-07a8-4861-b5b8-6bcc3811d967_SiteId">
    <vt:lpwstr>b4fe3a7f-5de7-4d27-8066-1d5728a1b3ea</vt:lpwstr>
  </property>
  <property fmtid="{D5CDD505-2E9C-101B-9397-08002B2CF9AE}" pid="8" name="MSIP_Label_34c3a00a-07a8-4861-b5b8-6bcc3811d967_ActionId">
    <vt:lpwstr>b8b0b0bb-87d5-4a86-b1df-d37093589354</vt:lpwstr>
  </property>
  <property fmtid="{D5CDD505-2E9C-101B-9397-08002B2CF9AE}" pid="9" name="MSIP_Label_34c3a00a-07a8-4861-b5b8-6bcc3811d967_ContentBits">
    <vt:lpwstr>0</vt:lpwstr>
  </property>
  <property fmtid="{D5CDD505-2E9C-101B-9397-08002B2CF9AE}" pid="10" name="MediaServiceImageTags">
    <vt:lpwstr/>
  </property>
</Properties>
</file>